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Lst>
  <p:notesMasterIdLst>
    <p:notesMasterId r:id="rId30"/>
  </p:notesMasterIdLst>
  <p:handoutMasterIdLst>
    <p:handoutMasterId r:id="rId31"/>
  </p:handoutMasterIdLst>
  <p:sldIdLst>
    <p:sldId id="259" r:id="rId6"/>
    <p:sldId id="295" r:id="rId7"/>
    <p:sldId id="2147479414" r:id="rId8"/>
    <p:sldId id="2147472514" r:id="rId9"/>
    <p:sldId id="2147479415" r:id="rId10"/>
    <p:sldId id="2147479416" r:id="rId11"/>
    <p:sldId id="2147479407" r:id="rId12"/>
    <p:sldId id="2147479406" r:id="rId13"/>
    <p:sldId id="2147470637" r:id="rId14"/>
    <p:sldId id="2147479413" r:id="rId15"/>
    <p:sldId id="269" r:id="rId16"/>
    <p:sldId id="2147479408" r:id="rId17"/>
    <p:sldId id="2147479418" r:id="rId18"/>
    <p:sldId id="2147479419" r:id="rId19"/>
    <p:sldId id="2147479420" r:id="rId20"/>
    <p:sldId id="2147479421" r:id="rId21"/>
    <p:sldId id="2147479409" r:id="rId22"/>
    <p:sldId id="257" r:id="rId23"/>
    <p:sldId id="2147479426" r:id="rId24"/>
    <p:sldId id="2147479411" r:id="rId25"/>
    <p:sldId id="2142532191" r:id="rId26"/>
    <p:sldId id="314" r:id="rId27"/>
    <p:sldId id="2147479427" r:id="rId28"/>
    <p:sldId id="279" r:id="rId29"/>
  </p:sldIdLst>
  <p:sldSz cx="12198350" cy="6858000"/>
  <p:notesSz cx="6950075" cy="923607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312" userDrawn="1">
          <p15:clr>
            <a:srgbClr val="A4A3A4"/>
          </p15:clr>
        </p15:guide>
        <p15:guide id="2" orient="horz" pos="2160">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EFF1A49-4A54-92E0-6137-00B491BCB3A9}" name="Karin Flieswasser" initials="KF" userId="S::karin.flieswasser@il.ey.com::80d8d1a3-03dd-45da-8d66-3d04875b292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 id="3" name="K" initials="KeK" lastIdx="2" clrIdx="2">
    <p:extLst>
      <p:ext uri="{19B8F6BF-5375-455C-9EA6-DF929625EA0E}">
        <p15:presenceInfo xmlns:p15="http://schemas.microsoft.com/office/powerpoint/2012/main" userId="K" providerId="None"/>
      </p:ext>
    </p:extLst>
  </p:cmAuthor>
  <p:cmAuthor id="4" name="Kees Schonebaum" initials="KS" lastIdx="1" clrIdx="3">
    <p:extLst>
      <p:ext uri="{19B8F6BF-5375-455C-9EA6-DF929625EA0E}">
        <p15:presenceInfo xmlns:p15="http://schemas.microsoft.com/office/powerpoint/2012/main" userId="S::Kees.Schonebaum@nl.ey.com::5017c10b-d38e-460b-8bfb-dc203c9643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FFFFF"/>
    <a:srgbClr val="2E2E38"/>
    <a:srgbClr val="C4C4CD"/>
    <a:srgbClr val="747480"/>
    <a:srgbClr val="808080"/>
    <a:srgbClr val="00000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3902F8-8C5B-4C4D-8756-7B0FA1CBC29F}" v="1151" dt="2024-03-13T07:47:56.1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0504" autoAdjust="0"/>
  </p:normalViewPr>
  <p:slideViewPr>
    <p:cSldViewPr snapToGrid="0" snapToObjects="1" showGuides="1">
      <p:cViewPr varScale="1">
        <p:scale>
          <a:sx n="147" d="100"/>
          <a:sy n="147" d="100"/>
        </p:scale>
        <p:origin x="744" y="114"/>
      </p:cViewPr>
      <p:guideLst>
        <p:guide pos="7312"/>
        <p:guide orient="horz" pos="2160"/>
      </p:guideLst>
    </p:cSldViewPr>
  </p:slideViewPr>
  <p:outlineViewPr>
    <p:cViewPr>
      <p:scale>
        <a:sx n="33" d="100"/>
        <a:sy n="33" d="100"/>
      </p:scale>
      <p:origin x="0" y="-7090"/>
    </p:cViewPr>
  </p:outlineViewPr>
  <p:notesTextViewPr>
    <p:cViewPr>
      <p:scale>
        <a:sx n="125" d="100"/>
        <a:sy n="125"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es Schonebaum" userId="5017c10b-d38e-460b-8bfb-dc203c964322" providerId="ADAL" clId="{2B3902F8-8C5B-4C4D-8756-7B0FA1CBC29F}"/>
    <pc:docChg chg="undo custSel addSld delSld modSld">
      <pc:chgData name="Kees Schonebaum" userId="5017c10b-d38e-460b-8bfb-dc203c964322" providerId="ADAL" clId="{2B3902F8-8C5B-4C4D-8756-7B0FA1CBC29F}" dt="2024-03-13T07:47:56.124" v="1171"/>
      <pc:docMkLst>
        <pc:docMk/>
      </pc:docMkLst>
      <pc:sldChg chg="modSp modNotesTx">
        <pc:chgData name="Kees Schonebaum" userId="5017c10b-d38e-460b-8bfb-dc203c964322" providerId="ADAL" clId="{2B3902F8-8C5B-4C4D-8756-7B0FA1CBC29F}" dt="2024-03-13T07:47:38.420" v="718"/>
        <pc:sldMkLst>
          <pc:docMk/>
          <pc:sldMk cId="0" sldId="257"/>
        </pc:sldMkLst>
        <pc:spChg chg="mod">
          <ac:chgData name="Kees Schonebaum" userId="5017c10b-d38e-460b-8bfb-dc203c964322" providerId="ADAL" clId="{2B3902F8-8C5B-4C4D-8756-7B0FA1CBC29F}" dt="2024-03-13T07:47:38.419" v="706"/>
          <ac:spMkLst>
            <pc:docMk/>
            <pc:sldMk cId="0" sldId="257"/>
            <ac:spMk id="2" creationId="{00000000-0000-0000-0000-000000000000}"/>
          </ac:spMkLst>
        </pc:spChg>
        <pc:spChg chg="mod">
          <ac:chgData name="Kees Schonebaum" userId="5017c10b-d38e-460b-8bfb-dc203c964322" providerId="ADAL" clId="{2B3902F8-8C5B-4C4D-8756-7B0FA1CBC29F}" dt="2024-03-13T07:47:38.419" v="707"/>
          <ac:spMkLst>
            <pc:docMk/>
            <pc:sldMk cId="0" sldId="257"/>
            <ac:spMk id="3" creationId="{00000000-0000-0000-0000-000000000000}"/>
          </ac:spMkLst>
        </pc:spChg>
        <pc:spChg chg="mod">
          <ac:chgData name="Kees Schonebaum" userId="5017c10b-d38e-460b-8bfb-dc203c964322" providerId="ADAL" clId="{2B3902F8-8C5B-4C4D-8756-7B0FA1CBC29F}" dt="2024-03-13T07:47:38.420" v="708"/>
          <ac:spMkLst>
            <pc:docMk/>
            <pc:sldMk cId="0" sldId="257"/>
            <ac:spMk id="4" creationId="{19176B58-A66F-4671-B3A7-D4D027DF70F7}"/>
          </ac:spMkLst>
        </pc:spChg>
        <pc:spChg chg="mod">
          <ac:chgData name="Kees Schonebaum" userId="5017c10b-d38e-460b-8bfb-dc203c964322" providerId="ADAL" clId="{2B3902F8-8C5B-4C4D-8756-7B0FA1CBC29F}" dt="2024-03-13T07:47:38.420" v="709"/>
          <ac:spMkLst>
            <pc:docMk/>
            <pc:sldMk cId="0" sldId="257"/>
            <ac:spMk id="5" creationId="{ACC93A25-FE6F-48C0-8A16-12E63F062ECB}"/>
          </ac:spMkLst>
        </pc:spChg>
        <pc:spChg chg="mod">
          <ac:chgData name="Kees Schonebaum" userId="5017c10b-d38e-460b-8bfb-dc203c964322" providerId="ADAL" clId="{2B3902F8-8C5B-4C4D-8756-7B0FA1CBC29F}" dt="2024-03-13T07:47:38.420" v="710"/>
          <ac:spMkLst>
            <pc:docMk/>
            <pc:sldMk cId="0" sldId="257"/>
            <ac:spMk id="6" creationId="{E20DC7B1-48B6-41C5-9771-FF26563EEC73}"/>
          </ac:spMkLst>
        </pc:spChg>
        <pc:spChg chg="mod">
          <ac:chgData name="Kees Schonebaum" userId="5017c10b-d38e-460b-8bfb-dc203c964322" providerId="ADAL" clId="{2B3902F8-8C5B-4C4D-8756-7B0FA1CBC29F}" dt="2024-03-13T07:47:38.420" v="712"/>
          <ac:spMkLst>
            <pc:docMk/>
            <pc:sldMk cId="0" sldId="257"/>
            <ac:spMk id="8" creationId="{396EDEF6-7ED8-06D4-B55C-35F0E9E7EEFF}"/>
          </ac:spMkLst>
        </pc:spChg>
        <pc:spChg chg="mod">
          <ac:chgData name="Kees Schonebaum" userId="5017c10b-d38e-460b-8bfb-dc203c964322" providerId="ADAL" clId="{2B3902F8-8C5B-4C4D-8756-7B0FA1CBC29F}" dt="2024-03-13T07:47:38.420" v="713"/>
          <ac:spMkLst>
            <pc:docMk/>
            <pc:sldMk cId="0" sldId="257"/>
            <ac:spMk id="9" creationId="{B70CA978-6F11-9F57-B559-035AE708CB71}"/>
          </ac:spMkLst>
        </pc:spChg>
        <pc:spChg chg="mod">
          <ac:chgData name="Kees Schonebaum" userId="5017c10b-d38e-460b-8bfb-dc203c964322" providerId="ADAL" clId="{2B3902F8-8C5B-4C4D-8756-7B0FA1CBC29F}" dt="2024-03-13T07:47:38.420" v="714"/>
          <ac:spMkLst>
            <pc:docMk/>
            <pc:sldMk cId="0" sldId="257"/>
            <ac:spMk id="10" creationId="{9CA3FB3D-F9FB-B9C0-A5F9-02370F27CD81}"/>
          </ac:spMkLst>
        </pc:spChg>
        <pc:spChg chg="mod">
          <ac:chgData name="Kees Schonebaum" userId="5017c10b-d38e-460b-8bfb-dc203c964322" providerId="ADAL" clId="{2B3902F8-8C5B-4C4D-8756-7B0FA1CBC29F}" dt="2024-03-13T07:47:38.420" v="715"/>
          <ac:spMkLst>
            <pc:docMk/>
            <pc:sldMk cId="0" sldId="257"/>
            <ac:spMk id="11" creationId="{6659A199-F670-F6C3-1851-1B4A5BA351A0}"/>
          </ac:spMkLst>
        </pc:spChg>
        <pc:spChg chg="mod">
          <ac:chgData name="Kees Schonebaum" userId="5017c10b-d38e-460b-8bfb-dc203c964322" providerId="ADAL" clId="{2B3902F8-8C5B-4C4D-8756-7B0FA1CBC29F}" dt="2024-03-13T07:47:38.420" v="716"/>
          <ac:spMkLst>
            <pc:docMk/>
            <pc:sldMk cId="0" sldId="257"/>
            <ac:spMk id="12" creationId="{04EFC164-344E-FCB6-096D-7FCD28B7382B}"/>
          </ac:spMkLst>
        </pc:spChg>
        <pc:spChg chg="mod">
          <ac:chgData name="Kees Schonebaum" userId="5017c10b-d38e-460b-8bfb-dc203c964322" providerId="ADAL" clId="{2B3902F8-8C5B-4C4D-8756-7B0FA1CBC29F}" dt="2024-03-13T07:47:38.420" v="717"/>
          <ac:spMkLst>
            <pc:docMk/>
            <pc:sldMk cId="0" sldId="257"/>
            <ac:spMk id="13" creationId="{BE9DD873-2F9B-9B3C-3C26-D495DDBF484F}"/>
          </ac:spMkLst>
        </pc:spChg>
        <pc:spChg chg="mod">
          <ac:chgData name="Kees Schonebaum" userId="5017c10b-d38e-460b-8bfb-dc203c964322" providerId="ADAL" clId="{2B3902F8-8C5B-4C4D-8756-7B0FA1CBC29F}" dt="2024-03-13T07:47:38.420" v="718"/>
          <ac:spMkLst>
            <pc:docMk/>
            <pc:sldMk cId="0" sldId="257"/>
            <ac:spMk id="14" creationId="{EE39B2D7-31E3-B674-9ED5-2F84036B891C}"/>
          </ac:spMkLst>
        </pc:spChg>
        <pc:picChg chg="mod">
          <ac:chgData name="Kees Schonebaum" userId="5017c10b-d38e-460b-8bfb-dc203c964322" providerId="ADAL" clId="{2B3902F8-8C5B-4C4D-8756-7B0FA1CBC29F}" dt="2024-03-13T07:47:38.420" v="711"/>
          <ac:picMkLst>
            <pc:docMk/>
            <pc:sldMk cId="0" sldId="257"/>
            <ac:picMk id="7" creationId="{1C1C6EE3-86F7-7B67-ACB1-661A23E252F4}"/>
          </ac:picMkLst>
        </pc:picChg>
      </pc:sldChg>
      <pc:sldChg chg="modSp">
        <pc:chgData name="Kees Schonebaum" userId="5017c10b-d38e-460b-8bfb-dc203c964322" providerId="ADAL" clId="{2B3902F8-8C5B-4C4D-8756-7B0FA1CBC29F}" dt="2024-03-13T07:47:56.124" v="1171"/>
        <pc:sldMkLst>
          <pc:docMk/>
          <pc:sldMk cId="0" sldId="259"/>
        </pc:sldMkLst>
        <pc:spChg chg="mod">
          <ac:chgData name="Kees Schonebaum" userId="5017c10b-d38e-460b-8bfb-dc203c964322" providerId="ADAL" clId="{2B3902F8-8C5B-4C4D-8756-7B0FA1CBC29F}" dt="2024-03-13T07:47:56.124" v="1171"/>
          <ac:spMkLst>
            <pc:docMk/>
            <pc:sldMk cId="0" sldId="259"/>
            <ac:spMk id="4" creationId="{00000000-0000-0000-0000-000000000000}"/>
          </ac:spMkLst>
        </pc:spChg>
        <pc:spChg chg="mod">
          <ac:chgData name="Kees Schonebaum" userId="5017c10b-d38e-460b-8bfb-dc203c964322" providerId="ADAL" clId="{2B3902F8-8C5B-4C4D-8756-7B0FA1CBC29F}" dt="2024-03-13T07:47:56.122" v="1169"/>
          <ac:spMkLst>
            <pc:docMk/>
            <pc:sldMk cId="0" sldId="259"/>
            <ac:spMk id="9218" creationId="{00000000-0000-0000-0000-000000000000}"/>
          </ac:spMkLst>
        </pc:spChg>
        <pc:spChg chg="mod">
          <ac:chgData name="Kees Schonebaum" userId="5017c10b-d38e-460b-8bfb-dc203c964322" providerId="ADAL" clId="{2B3902F8-8C5B-4C4D-8756-7B0FA1CBC29F}" dt="2024-03-13T07:47:56.124" v="1170"/>
          <ac:spMkLst>
            <pc:docMk/>
            <pc:sldMk cId="0" sldId="259"/>
            <ac:spMk id="9219" creationId="{00000000-0000-0000-0000-000000000000}"/>
          </ac:spMkLst>
        </pc:spChg>
      </pc:sldChg>
      <pc:sldChg chg="modSp">
        <pc:chgData name="Kees Schonebaum" userId="5017c10b-d38e-460b-8bfb-dc203c964322" providerId="ADAL" clId="{2B3902F8-8C5B-4C4D-8756-7B0FA1CBC29F}" dt="2024-03-13T07:47:45.451" v="897"/>
        <pc:sldMkLst>
          <pc:docMk/>
          <pc:sldMk cId="0" sldId="269"/>
        </pc:sldMkLst>
        <pc:spChg chg="mod">
          <ac:chgData name="Kees Schonebaum" userId="5017c10b-d38e-460b-8bfb-dc203c964322" providerId="ADAL" clId="{2B3902F8-8C5B-4C4D-8756-7B0FA1CBC29F}" dt="2024-03-13T07:47:45.451" v="895"/>
          <ac:spMkLst>
            <pc:docMk/>
            <pc:sldMk cId="0" sldId="269"/>
            <ac:spMk id="2" creationId="{065B9EEC-9EC6-9A4C-2475-ACEB1950DA8E}"/>
          </ac:spMkLst>
        </pc:spChg>
        <pc:spChg chg="mod">
          <ac:chgData name="Kees Schonebaum" userId="5017c10b-d38e-460b-8bfb-dc203c964322" providerId="ADAL" clId="{2B3902F8-8C5B-4C4D-8756-7B0FA1CBC29F}" dt="2024-03-13T07:47:45.451" v="896"/>
          <ac:spMkLst>
            <pc:docMk/>
            <pc:sldMk cId="0" sldId="269"/>
            <ac:spMk id="3" creationId="{C9C7E278-835C-8AEB-4881-B5F2ADEF9E00}"/>
          </ac:spMkLst>
        </pc:spChg>
        <pc:spChg chg="mod">
          <ac:chgData name="Kees Schonebaum" userId="5017c10b-d38e-460b-8bfb-dc203c964322" providerId="ADAL" clId="{2B3902F8-8C5B-4C4D-8756-7B0FA1CBC29F}" dt="2024-03-13T07:47:45.451" v="897"/>
          <ac:spMkLst>
            <pc:docMk/>
            <pc:sldMk cId="0" sldId="269"/>
            <ac:spMk id="4" creationId="{8918B6F9-19D3-622B-8455-B1CDE6F1A114}"/>
          </ac:spMkLst>
        </pc:spChg>
        <pc:spChg chg="mod">
          <ac:chgData name="Kees Schonebaum" userId="5017c10b-d38e-460b-8bfb-dc203c964322" providerId="ADAL" clId="{2B3902F8-8C5B-4C4D-8756-7B0FA1CBC29F}" dt="2024-03-13T07:47:45.443" v="850"/>
          <ac:spMkLst>
            <pc:docMk/>
            <pc:sldMk cId="0" sldId="269"/>
            <ac:spMk id="897" creationId="{00000000-0000-0000-0000-000000000000}"/>
          </ac:spMkLst>
        </pc:spChg>
        <pc:spChg chg="mod">
          <ac:chgData name="Kees Schonebaum" userId="5017c10b-d38e-460b-8bfb-dc203c964322" providerId="ADAL" clId="{2B3902F8-8C5B-4C4D-8756-7B0FA1CBC29F}" dt="2024-03-13T07:47:45.443" v="851"/>
          <ac:spMkLst>
            <pc:docMk/>
            <pc:sldMk cId="0" sldId="269"/>
            <ac:spMk id="899" creationId="{00000000-0000-0000-0000-000000000000}"/>
          </ac:spMkLst>
        </pc:spChg>
        <pc:spChg chg="mod">
          <ac:chgData name="Kees Schonebaum" userId="5017c10b-d38e-460b-8bfb-dc203c964322" providerId="ADAL" clId="{2B3902F8-8C5B-4C4D-8756-7B0FA1CBC29F}" dt="2024-03-13T07:47:45.443" v="852"/>
          <ac:spMkLst>
            <pc:docMk/>
            <pc:sldMk cId="0" sldId="269"/>
            <ac:spMk id="901" creationId="{00000000-0000-0000-0000-000000000000}"/>
          </ac:spMkLst>
        </pc:spChg>
        <pc:spChg chg="mod">
          <ac:chgData name="Kees Schonebaum" userId="5017c10b-d38e-460b-8bfb-dc203c964322" providerId="ADAL" clId="{2B3902F8-8C5B-4C4D-8756-7B0FA1CBC29F}" dt="2024-03-13T07:47:45.443" v="853"/>
          <ac:spMkLst>
            <pc:docMk/>
            <pc:sldMk cId="0" sldId="269"/>
            <ac:spMk id="902" creationId="{00000000-0000-0000-0000-000000000000}"/>
          </ac:spMkLst>
        </pc:spChg>
        <pc:spChg chg="mod">
          <ac:chgData name="Kees Schonebaum" userId="5017c10b-d38e-460b-8bfb-dc203c964322" providerId="ADAL" clId="{2B3902F8-8C5B-4C4D-8756-7B0FA1CBC29F}" dt="2024-03-13T07:47:45.444" v="854"/>
          <ac:spMkLst>
            <pc:docMk/>
            <pc:sldMk cId="0" sldId="269"/>
            <ac:spMk id="903" creationId="{00000000-0000-0000-0000-000000000000}"/>
          </ac:spMkLst>
        </pc:spChg>
        <pc:spChg chg="mod">
          <ac:chgData name="Kees Schonebaum" userId="5017c10b-d38e-460b-8bfb-dc203c964322" providerId="ADAL" clId="{2B3902F8-8C5B-4C4D-8756-7B0FA1CBC29F}" dt="2024-03-13T07:47:45.444" v="855"/>
          <ac:spMkLst>
            <pc:docMk/>
            <pc:sldMk cId="0" sldId="269"/>
            <ac:spMk id="904" creationId="{00000000-0000-0000-0000-000000000000}"/>
          </ac:spMkLst>
        </pc:spChg>
        <pc:spChg chg="mod">
          <ac:chgData name="Kees Schonebaum" userId="5017c10b-d38e-460b-8bfb-dc203c964322" providerId="ADAL" clId="{2B3902F8-8C5B-4C4D-8756-7B0FA1CBC29F}" dt="2024-03-13T07:47:45.444" v="856"/>
          <ac:spMkLst>
            <pc:docMk/>
            <pc:sldMk cId="0" sldId="269"/>
            <ac:spMk id="905" creationId="{00000000-0000-0000-0000-000000000000}"/>
          </ac:spMkLst>
        </pc:spChg>
        <pc:spChg chg="mod">
          <ac:chgData name="Kees Schonebaum" userId="5017c10b-d38e-460b-8bfb-dc203c964322" providerId="ADAL" clId="{2B3902F8-8C5B-4C4D-8756-7B0FA1CBC29F}" dt="2024-03-13T07:47:45.444" v="857"/>
          <ac:spMkLst>
            <pc:docMk/>
            <pc:sldMk cId="0" sldId="269"/>
            <ac:spMk id="906" creationId="{00000000-0000-0000-0000-000000000000}"/>
          </ac:spMkLst>
        </pc:spChg>
        <pc:spChg chg="mod">
          <ac:chgData name="Kees Schonebaum" userId="5017c10b-d38e-460b-8bfb-dc203c964322" providerId="ADAL" clId="{2B3902F8-8C5B-4C4D-8756-7B0FA1CBC29F}" dt="2024-03-13T07:47:45.444" v="858"/>
          <ac:spMkLst>
            <pc:docMk/>
            <pc:sldMk cId="0" sldId="269"/>
            <ac:spMk id="907" creationId="{00000000-0000-0000-0000-000000000000}"/>
          </ac:spMkLst>
        </pc:spChg>
        <pc:spChg chg="mod">
          <ac:chgData name="Kees Schonebaum" userId="5017c10b-d38e-460b-8bfb-dc203c964322" providerId="ADAL" clId="{2B3902F8-8C5B-4C4D-8756-7B0FA1CBC29F}" dt="2024-03-13T07:47:45.444" v="859"/>
          <ac:spMkLst>
            <pc:docMk/>
            <pc:sldMk cId="0" sldId="269"/>
            <ac:spMk id="908" creationId="{00000000-0000-0000-0000-000000000000}"/>
          </ac:spMkLst>
        </pc:spChg>
        <pc:spChg chg="mod">
          <ac:chgData name="Kees Schonebaum" userId="5017c10b-d38e-460b-8bfb-dc203c964322" providerId="ADAL" clId="{2B3902F8-8C5B-4C4D-8756-7B0FA1CBC29F}" dt="2024-03-13T07:47:45.445" v="860"/>
          <ac:spMkLst>
            <pc:docMk/>
            <pc:sldMk cId="0" sldId="269"/>
            <ac:spMk id="909" creationId="{00000000-0000-0000-0000-000000000000}"/>
          </ac:spMkLst>
        </pc:spChg>
        <pc:spChg chg="mod">
          <ac:chgData name="Kees Schonebaum" userId="5017c10b-d38e-460b-8bfb-dc203c964322" providerId="ADAL" clId="{2B3902F8-8C5B-4C4D-8756-7B0FA1CBC29F}" dt="2024-03-13T07:47:45.445" v="861"/>
          <ac:spMkLst>
            <pc:docMk/>
            <pc:sldMk cId="0" sldId="269"/>
            <ac:spMk id="910" creationId="{00000000-0000-0000-0000-000000000000}"/>
          </ac:spMkLst>
        </pc:spChg>
        <pc:spChg chg="mod">
          <ac:chgData name="Kees Schonebaum" userId="5017c10b-d38e-460b-8bfb-dc203c964322" providerId="ADAL" clId="{2B3902F8-8C5B-4C4D-8756-7B0FA1CBC29F}" dt="2024-03-13T07:47:45.445" v="862"/>
          <ac:spMkLst>
            <pc:docMk/>
            <pc:sldMk cId="0" sldId="269"/>
            <ac:spMk id="911" creationId="{00000000-0000-0000-0000-000000000000}"/>
          </ac:spMkLst>
        </pc:spChg>
        <pc:spChg chg="mod">
          <ac:chgData name="Kees Schonebaum" userId="5017c10b-d38e-460b-8bfb-dc203c964322" providerId="ADAL" clId="{2B3902F8-8C5B-4C4D-8756-7B0FA1CBC29F}" dt="2024-03-13T07:47:45.445" v="863"/>
          <ac:spMkLst>
            <pc:docMk/>
            <pc:sldMk cId="0" sldId="269"/>
            <ac:spMk id="912" creationId="{00000000-0000-0000-0000-000000000000}"/>
          </ac:spMkLst>
        </pc:spChg>
        <pc:spChg chg="mod">
          <ac:chgData name="Kees Schonebaum" userId="5017c10b-d38e-460b-8bfb-dc203c964322" providerId="ADAL" clId="{2B3902F8-8C5B-4C4D-8756-7B0FA1CBC29F}" dt="2024-03-13T07:47:45.445" v="864"/>
          <ac:spMkLst>
            <pc:docMk/>
            <pc:sldMk cId="0" sldId="269"/>
            <ac:spMk id="913" creationId="{00000000-0000-0000-0000-000000000000}"/>
          </ac:spMkLst>
        </pc:spChg>
        <pc:spChg chg="mod">
          <ac:chgData name="Kees Schonebaum" userId="5017c10b-d38e-460b-8bfb-dc203c964322" providerId="ADAL" clId="{2B3902F8-8C5B-4C4D-8756-7B0FA1CBC29F}" dt="2024-03-13T07:47:45.446" v="865"/>
          <ac:spMkLst>
            <pc:docMk/>
            <pc:sldMk cId="0" sldId="269"/>
            <ac:spMk id="914" creationId="{00000000-0000-0000-0000-000000000000}"/>
          </ac:spMkLst>
        </pc:spChg>
        <pc:spChg chg="mod">
          <ac:chgData name="Kees Schonebaum" userId="5017c10b-d38e-460b-8bfb-dc203c964322" providerId="ADAL" clId="{2B3902F8-8C5B-4C4D-8756-7B0FA1CBC29F}" dt="2024-03-13T07:47:45.446" v="866"/>
          <ac:spMkLst>
            <pc:docMk/>
            <pc:sldMk cId="0" sldId="269"/>
            <ac:spMk id="915" creationId="{00000000-0000-0000-0000-000000000000}"/>
          </ac:spMkLst>
        </pc:spChg>
        <pc:spChg chg="mod">
          <ac:chgData name="Kees Schonebaum" userId="5017c10b-d38e-460b-8bfb-dc203c964322" providerId="ADAL" clId="{2B3902F8-8C5B-4C4D-8756-7B0FA1CBC29F}" dt="2024-03-13T07:47:45.446" v="867"/>
          <ac:spMkLst>
            <pc:docMk/>
            <pc:sldMk cId="0" sldId="269"/>
            <ac:spMk id="916" creationId="{00000000-0000-0000-0000-000000000000}"/>
          </ac:spMkLst>
        </pc:spChg>
        <pc:spChg chg="mod">
          <ac:chgData name="Kees Schonebaum" userId="5017c10b-d38e-460b-8bfb-dc203c964322" providerId="ADAL" clId="{2B3902F8-8C5B-4C4D-8756-7B0FA1CBC29F}" dt="2024-03-13T07:47:45.446" v="868"/>
          <ac:spMkLst>
            <pc:docMk/>
            <pc:sldMk cId="0" sldId="269"/>
            <ac:spMk id="917" creationId="{00000000-0000-0000-0000-000000000000}"/>
          </ac:spMkLst>
        </pc:spChg>
        <pc:spChg chg="mod">
          <ac:chgData name="Kees Schonebaum" userId="5017c10b-d38e-460b-8bfb-dc203c964322" providerId="ADAL" clId="{2B3902F8-8C5B-4C4D-8756-7B0FA1CBC29F}" dt="2024-03-13T07:47:45.446" v="869"/>
          <ac:spMkLst>
            <pc:docMk/>
            <pc:sldMk cId="0" sldId="269"/>
            <ac:spMk id="918" creationId="{00000000-0000-0000-0000-000000000000}"/>
          </ac:spMkLst>
        </pc:spChg>
        <pc:spChg chg="mod">
          <ac:chgData name="Kees Schonebaum" userId="5017c10b-d38e-460b-8bfb-dc203c964322" providerId="ADAL" clId="{2B3902F8-8C5B-4C4D-8756-7B0FA1CBC29F}" dt="2024-03-13T07:47:45.446" v="870"/>
          <ac:spMkLst>
            <pc:docMk/>
            <pc:sldMk cId="0" sldId="269"/>
            <ac:spMk id="919" creationId="{00000000-0000-0000-0000-000000000000}"/>
          </ac:spMkLst>
        </pc:spChg>
        <pc:spChg chg="mod">
          <ac:chgData name="Kees Schonebaum" userId="5017c10b-d38e-460b-8bfb-dc203c964322" providerId="ADAL" clId="{2B3902F8-8C5B-4C4D-8756-7B0FA1CBC29F}" dt="2024-03-13T07:47:45.447" v="871"/>
          <ac:spMkLst>
            <pc:docMk/>
            <pc:sldMk cId="0" sldId="269"/>
            <ac:spMk id="920" creationId="{00000000-0000-0000-0000-000000000000}"/>
          </ac:spMkLst>
        </pc:spChg>
        <pc:spChg chg="mod">
          <ac:chgData name="Kees Schonebaum" userId="5017c10b-d38e-460b-8bfb-dc203c964322" providerId="ADAL" clId="{2B3902F8-8C5B-4C4D-8756-7B0FA1CBC29F}" dt="2024-03-13T07:47:45.447" v="872"/>
          <ac:spMkLst>
            <pc:docMk/>
            <pc:sldMk cId="0" sldId="269"/>
            <ac:spMk id="921" creationId="{00000000-0000-0000-0000-000000000000}"/>
          </ac:spMkLst>
        </pc:spChg>
        <pc:spChg chg="mod">
          <ac:chgData name="Kees Schonebaum" userId="5017c10b-d38e-460b-8bfb-dc203c964322" providerId="ADAL" clId="{2B3902F8-8C5B-4C4D-8756-7B0FA1CBC29F}" dt="2024-03-13T07:47:45.447" v="873"/>
          <ac:spMkLst>
            <pc:docMk/>
            <pc:sldMk cId="0" sldId="269"/>
            <ac:spMk id="922" creationId="{00000000-0000-0000-0000-000000000000}"/>
          </ac:spMkLst>
        </pc:spChg>
        <pc:spChg chg="mod">
          <ac:chgData name="Kees Schonebaum" userId="5017c10b-d38e-460b-8bfb-dc203c964322" providerId="ADAL" clId="{2B3902F8-8C5B-4C4D-8756-7B0FA1CBC29F}" dt="2024-03-13T07:47:45.447" v="874"/>
          <ac:spMkLst>
            <pc:docMk/>
            <pc:sldMk cId="0" sldId="269"/>
            <ac:spMk id="923" creationId="{00000000-0000-0000-0000-000000000000}"/>
          </ac:spMkLst>
        </pc:spChg>
        <pc:spChg chg="mod">
          <ac:chgData name="Kees Schonebaum" userId="5017c10b-d38e-460b-8bfb-dc203c964322" providerId="ADAL" clId="{2B3902F8-8C5B-4C4D-8756-7B0FA1CBC29F}" dt="2024-03-13T07:47:45.447" v="875"/>
          <ac:spMkLst>
            <pc:docMk/>
            <pc:sldMk cId="0" sldId="269"/>
            <ac:spMk id="924" creationId="{00000000-0000-0000-0000-000000000000}"/>
          </ac:spMkLst>
        </pc:spChg>
        <pc:spChg chg="mod">
          <ac:chgData name="Kees Schonebaum" userId="5017c10b-d38e-460b-8bfb-dc203c964322" providerId="ADAL" clId="{2B3902F8-8C5B-4C4D-8756-7B0FA1CBC29F}" dt="2024-03-13T07:47:45.447" v="876"/>
          <ac:spMkLst>
            <pc:docMk/>
            <pc:sldMk cId="0" sldId="269"/>
            <ac:spMk id="925" creationId="{00000000-0000-0000-0000-000000000000}"/>
          </ac:spMkLst>
        </pc:spChg>
        <pc:spChg chg="mod">
          <ac:chgData name="Kees Schonebaum" userId="5017c10b-d38e-460b-8bfb-dc203c964322" providerId="ADAL" clId="{2B3902F8-8C5B-4C4D-8756-7B0FA1CBC29F}" dt="2024-03-13T07:47:45.448" v="877"/>
          <ac:spMkLst>
            <pc:docMk/>
            <pc:sldMk cId="0" sldId="269"/>
            <ac:spMk id="926" creationId="{00000000-0000-0000-0000-000000000000}"/>
          </ac:spMkLst>
        </pc:spChg>
        <pc:spChg chg="mod">
          <ac:chgData name="Kees Schonebaum" userId="5017c10b-d38e-460b-8bfb-dc203c964322" providerId="ADAL" clId="{2B3902F8-8C5B-4C4D-8756-7B0FA1CBC29F}" dt="2024-03-13T07:47:45.448" v="878"/>
          <ac:spMkLst>
            <pc:docMk/>
            <pc:sldMk cId="0" sldId="269"/>
            <ac:spMk id="927" creationId="{00000000-0000-0000-0000-000000000000}"/>
          </ac:spMkLst>
        </pc:spChg>
        <pc:spChg chg="mod">
          <ac:chgData name="Kees Schonebaum" userId="5017c10b-d38e-460b-8bfb-dc203c964322" providerId="ADAL" clId="{2B3902F8-8C5B-4C4D-8756-7B0FA1CBC29F}" dt="2024-03-13T07:47:45.448" v="879"/>
          <ac:spMkLst>
            <pc:docMk/>
            <pc:sldMk cId="0" sldId="269"/>
            <ac:spMk id="928" creationId="{00000000-0000-0000-0000-000000000000}"/>
          </ac:spMkLst>
        </pc:spChg>
        <pc:spChg chg="mod">
          <ac:chgData name="Kees Schonebaum" userId="5017c10b-d38e-460b-8bfb-dc203c964322" providerId="ADAL" clId="{2B3902F8-8C5B-4C4D-8756-7B0FA1CBC29F}" dt="2024-03-13T07:47:45.448" v="880"/>
          <ac:spMkLst>
            <pc:docMk/>
            <pc:sldMk cId="0" sldId="269"/>
            <ac:spMk id="929" creationId="{00000000-0000-0000-0000-000000000000}"/>
          </ac:spMkLst>
        </pc:spChg>
        <pc:spChg chg="mod">
          <ac:chgData name="Kees Schonebaum" userId="5017c10b-d38e-460b-8bfb-dc203c964322" providerId="ADAL" clId="{2B3902F8-8C5B-4C4D-8756-7B0FA1CBC29F}" dt="2024-03-13T07:47:45.448" v="881"/>
          <ac:spMkLst>
            <pc:docMk/>
            <pc:sldMk cId="0" sldId="269"/>
            <ac:spMk id="930" creationId="{00000000-0000-0000-0000-000000000000}"/>
          </ac:spMkLst>
        </pc:spChg>
        <pc:spChg chg="mod">
          <ac:chgData name="Kees Schonebaum" userId="5017c10b-d38e-460b-8bfb-dc203c964322" providerId="ADAL" clId="{2B3902F8-8C5B-4C4D-8756-7B0FA1CBC29F}" dt="2024-03-13T07:47:45.449" v="882"/>
          <ac:spMkLst>
            <pc:docMk/>
            <pc:sldMk cId="0" sldId="269"/>
            <ac:spMk id="931" creationId="{00000000-0000-0000-0000-000000000000}"/>
          </ac:spMkLst>
        </pc:spChg>
        <pc:spChg chg="mod">
          <ac:chgData name="Kees Schonebaum" userId="5017c10b-d38e-460b-8bfb-dc203c964322" providerId="ADAL" clId="{2B3902F8-8C5B-4C4D-8756-7B0FA1CBC29F}" dt="2024-03-13T07:47:45.449" v="883"/>
          <ac:spMkLst>
            <pc:docMk/>
            <pc:sldMk cId="0" sldId="269"/>
            <ac:spMk id="932" creationId="{00000000-0000-0000-0000-000000000000}"/>
          </ac:spMkLst>
        </pc:spChg>
        <pc:spChg chg="mod">
          <ac:chgData name="Kees Schonebaum" userId="5017c10b-d38e-460b-8bfb-dc203c964322" providerId="ADAL" clId="{2B3902F8-8C5B-4C4D-8756-7B0FA1CBC29F}" dt="2024-03-13T07:47:45.449" v="884"/>
          <ac:spMkLst>
            <pc:docMk/>
            <pc:sldMk cId="0" sldId="269"/>
            <ac:spMk id="933" creationId="{00000000-0000-0000-0000-000000000000}"/>
          </ac:spMkLst>
        </pc:spChg>
        <pc:spChg chg="mod">
          <ac:chgData name="Kees Schonebaum" userId="5017c10b-d38e-460b-8bfb-dc203c964322" providerId="ADAL" clId="{2B3902F8-8C5B-4C4D-8756-7B0FA1CBC29F}" dt="2024-03-13T07:47:45.449" v="885"/>
          <ac:spMkLst>
            <pc:docMk/>
            <pc:sldMk cId="0" sldId="269"/>
            <ac:spMk id="934" creationId="{00000000-0000-0000-0000-000000000000}"/>
          </ac:spMkLst>
        </pc:spChg>
        <pc:spChg chg="mod">
          <ac:chgData name="Kees Schonebaum" userId="5017c10b-d38e-460b-8bfb-dc203c964322" providerId="ADAL" clId="{2B3902F8-8C5B-4C4D-8756-7B0FA1CBC29F}" dt="2024-03-13T07:47:45.449" v="886"/>
          <ac:spMkLst>
            <pc:docMk/>
            <pc:sldMk cId="0" sldId="269"/>
            <ac:spMk id="935" creationId="{00000000-0000-0000-0000-000000000000}"/>
          </ac:spMkLst>
        </pc:spChg>
        <pc:spChg chg="mod">
          <ac:chgData name="Kees Schonebaum" userId="5017c10b-d38e-460b-8bfb-dc203c964322" providerId="ADAL" clId="{2B3902F8-8C5B-4C4D-8756-7B0FA1CBC29F}" dt="2024-03-13T07:47:45.449" v="887"/>
          <ac:spMkLst>
            <pc:docMk/>
            <pc:sldMk cId="0" sldId="269"/>
            <ac:spMk id="936" creationId="{00000000-0000-0000-0000-000000000000}"/>
          </ac:spMkLst>
        </pc:spChg>
        <pc:spChg chg="mod">
          <ac:chgData name="Kees Schonebaum" userId="5017c10b-d38e-460b-8bfb-dc203c964322" providerId="ADAL" clId="{2B3902F8-8C5B-4C4D-8756-7B0FA1CBC29F}" dt="2024-03-13T07:47:45.450" v="888"/>
          <ac:spMkLst>
            <pc:docMk/>
            <pc:sldMk cId="0" sldId="269"/>
            <ac:spMk id="937" creationId="{00000000-0000-0000-0000-000000000000}"/>
          </ac:spMkLst>
        </pc:spChg>
        <pc:spChg chg="mod">
          <ac:chgData name="Kees Schonebaum" userId="5017c10b-d38e-460b-8bfb-dc203c964322" providerId="ADAL" clId="{2B3902F8-8C5B-4C4D-8756-7B0FA1CBC29F}" dt="2024-03-13T07:47:45.450" v="889"/>
          <ac:spMkLst>
            <pc:docMk/>
            <pc:sldMk cId="0" sldId="269"/>
            <ac:spMk id="938" creationId="{00000000-0000-0000-0000-000000000000}"/>
          </ac:spMkLst>
        </pc:spChg>
        <pc:spChg chg="mod">
          <ac:chgData name="Kees Schonebaum" userId="5017c10b-d38e-460b-8bfb-dc203c964322" providerId="ADAL" clId="{2B3902F8-8C5B-4C4D-8756-7B0FA1CBC29F}" dt="2024-03-13T07:47:45.450" v="890"/>
          <ac:spMkLst>
            <pc:docMk/>
            <pc:sldMk cId="0" sldId="269"/>
            <ac:spMk id="939" creationId="{00000000-0000-0000-0000-000000000000}"/>
          </ac:spMkLst>
        </pc:spChg>
        <pc:spChg chg="mod">
          <ac:chgData name="Kees Schonebaum" userId="5017c10b-d38e-460b-8bfb-dc203c964322" providerId="ADAL" clId="{2B3902F8-8C5B-4C4D-8756-7B0FA1CBC29F}" dt="2024-03-13T07:47:45.450" v="891"/>
          <ac:spMkLst>
            <pc:docMk/>
            <pc:sldMk cId="0" sldId="269"/>
            <ac:spMk id="940" creationId="{00000000-0000-0000-0000-000000000000}"/>
          </ac:spMkLst>
        </pc:spChg>
        <pc:spChg chg="mod">
          <ac:chgData name="Kees Schonebaum" userId="5017c10b-d38e-460b-8bfb-dc203c964322" providerId="ADAL" clId="{2B3902F8-8C5B-4C4D-8756-7B0FA1CBC29F}" dt="2024-03-13T07:47:45.450" v="892"/>
          <ac:spMkLst>
            <pc:docMk/>
            <pc:sldMk cId="0" sldId="269"/>
            <ac:spMk id="942" creationId="{00000000-0000-0000-0000-000000000000}"/>
          </ac:spMkLst>
        </pc:spChg>
        <pc:spChg chg="mod">
          <ac:chgData name="Kees Schonebaum" userId="5017c10b-d38e-460b-8bfb-dc203c964322" providerId="ADAL" clId="{2B3902F8-8C5B-4C4D-8756-7B0FA1CBC29F}" dt="2024-03-13T07:47:45.451" v="893"/>
          <ac:spMkLst>
            <pc:docMk/>
            <pc:sldMk cId="0" sldId="269"/>
            <ac:spMk id="943" creationId="{00000000-0000-0000-0000-000000000000}"/>
          </ac:spMkLst>
        </pc:spChg>
        <pc:picChg chg="mod">
          <ac:chgData name="Kees Schonebaum" userId="5017c10b-d38e-460b-8bfb-dc203c964322" providerId="ADAL" clId="{2B3902F8-8C5B-4C4D-8756-7B0FA1CBC29F}" dt="2024-03-13T07:47:45.451" v="894"/>
          <ac:picMkLst>
            <pc:docMk/>
            <pc:sldMk cId="0" sldId="269"/>
            <ac:picMk id="11" creationId="{5DB2B709-4B74-1F8D-53BD-57E6F9CCBE05}"/>
          </ac:picMkLst>
        </pc:picChg>
      </pc:sldChg>
      <pc:sldChg chg="modSp">
        <pc:chgData name="Kees Schonebaum" userId="5017c10b-d38e-460b-8bfb-dc203c964322" providerId="ADAL" clId="{2B3902F8-8C5B-4C4D-8756-7B0FA1CBC29F}" dt="2024-03-13T07:47:35.313" v="652"/>
        <pc:sldMkLst>
          <pc:docMk/>
          <pc:sldMk cId="3717169828" sldId="279"/>
        </pc:sldMkLst>
        <pc:spChg chg="mod">
          <ac:chgData name="Kees Schonebaum" userId="5017c10b-d38e-460b-8bfb-dc203c964322" providerId="ADAL" clId="{2B3902F8-8C5B-4C4D-8756-7B0FA1CBC29F}" dt="2024-03-13T07:47:35.313" v="652"/>
          <ac:spMkLst>
            <pc:docMk/>
            <pc:sldMk cId="3717169828" sldId="279"/>
            <ac:spMk id="4" creationId="{00000000-0000-0000-0000-000000000000}"/>
          </ac:spMkLst>
        </pc:spChg>
        <pc:spChg chg="mod">
          <ac:chgData name="Kees Schonebaum" userId="5017c10b-d38e-460b-8bfb-dc203c964322" providerId="ADAL" clId="{2B3902F8-8C5B-4C4D-8756-7B0FA1CBC29F}" dt="2024-03-13T07:47:35.313" v="650"/>
          <ac:spMkLst>
            <pc:docMk/>
            <pc:sldMk cId="3717169828" sldId="279"/>
            <ac:spMk id="11266" creationId="{00000000-0000-0000-0000-000000000000}"/>
          </ac:spMkLst>
        </pc:spChg>
        <pc:spChg chg="mod">
          <ac:chgData name="Kees Schonebaum" userId="5017c10b-d38e-460b-8bfb-dc203c964322" providerId="ADAL" clId="{2B3902F8-8C5B-4C4D-8756-7B0FA1CBC29F}" dt="2024-03-13T07:47:35.313" v="651"/>
          <ac:spMkLst>
            <pc:docMk/>
            <pc:sldMk cId="3717169828" sldId="279"/>
            <ac:spMk id="11267" creationId="{00000000-0000-0000-0000-000000000000}"/>
          </ac:spMkLst>
        </pc:spChg>
      </pc:sldChg>
      <pc:sldChg chg="modSp">
        <pc:chgData name="Kees Schonebaum" userId="5017c10b-d38e-460b-8bfb-dc203c964322" providerId="ADAL" clId="{2B3902F8-8C5B-4C4D-8756-7B0FA1CBC29F}" dt="2024-03-13T07:47:54.292" v="1165"/>
        <pc:sldMkLst>
          <pc:docMk/>
          <pc:sldMk cId="1290148990" sldId="295"/>
        </pc:sldMkLst>
        <pc:spChg chg="mod">
          <ac:chgData name="Kees Schonebaum" userId="5017c10b-d38e-460b-8bfb-dc203c964322" providerId="ADAL" clId="{2B3902F8-8C5B-4C4D-8756-7B0FA1CBC29F}" dt="2024-03-13T07:47:54.291" v="1158"/>
          <ac:spMkLst>
            <pc:docMk/>
            <pc:sldMk cId="1290148990" sldId="295"/>
            <ac:spMk id="2" creationId="{3DB057CF-B986-41E6-95A7-219156C02807}"/>
          </ac:spMkLst>
        </pc:spChg>
        <pc:spChg chg="mod">
          <ac:chgData name="Kees Schonebaum" userId="5017c10b-d38e-460b-8bfb-dc203c964322" providerId="ADAL" clId="{2B3902F8-8C5B-4C4D-8756-7B0FA1CBC29F}" dt="2024-03-13T07:47:54.290" v="1154"/>
          <ac:spMkLst>
            <pc:docMk/>
            <pc:sldMk cId="1290148990" sldId="295"/>
            <ac:spMk id="4" creationId="{00000000-0000-0000-0000-000000000000}"/>
          </ac:spMkLst>
        </pc:spChg>
        <pc:spChg chg="mod">
          <ac:chgData name="Kees Schonebaum" userId="5017c10b-d38e-460b-8bfb-dc203c964322" providerId="ADAL" clId="{2B3902F8-8C5B-4C4D-8756-7B0FA1CBC29F}" dt="2024-03-13T07:47:54.291" v="1159"/>
          <ac:spMkLst>
            <pc:docMk/>
            <pc:sldMk cId="1290148990" sldId="295"/>
            <ac:spMk id="5" creationId="{2E898AE0-B817-48DB-9976-758677586103}"/>
          </ac:spMkLst>
        </pc:spChg>
        <pc:spChg chg="mod">
          <ac:chgData name="Kees Schonebaum" userId="5017c10b-d38e-460b-8bfb-dc203c964322" providerId="ADAL" clId="{2B3902F8-8C5B-4C4D-8756-7B0FA1CBC29F}" dt="2024-03-13T07:47:54.291" v="1160"/>
          <ac:spMkLst>
            <pc:docMk/>
            <pc:sldMk cId="1290148990" sldId="295"/>
            <ac:spMk id="6" creationId="{B0DCA2BB-2827-F860-1B05-5B74381E447D}"/>
          </ac:spMkLst>
        </pc:spChg>
        <pc:spChg chg="mod">
          <ac:chgData name="Kees Schonebaum" userId="5017c10b-d38e-460b-8bfb-dc203c964322" providerId="ADAL" clId="{2B3902F8-8C5B-4C4D-8756-7B0FA1CBC29F}" dt="2024-03-13T07:47:54.291" v="1161"/>
          <ac:spMkLst>
            <pc:docMk/>
            <pc:sldMk cId="1290148990" sldId="295"/>
            <ac:spMk id="7" creationId="{B243A09F-8DE7-1022-778B-BFD2D2A7A8D7}"/>
          </ac:spMkLst>
        </pc:spChg>
        <pc:spChg chg="mod">
          <ac:chgData name="Kees Schonebaum" userId="5017c10b-d38e-460b-8bfb-dc203c964322" providerId="ADAL" clId="{2B3902F8-8C5B-4C4D-8756-7B0FA1CBC29F}" dt="2024-03-13T07:47:54.290" v="1155"/>
          <ac:spMkLst>
            <pc:docMk/>
            <pc:sldMk cId="1290148990" sldId="295"/>
            <ac:spMk id="13" creationId="{E2740916-D1BA-4BAB-829F-7597C2BE72CE}"/>
          </ac:spMkLst>
        </pc:spChg>
        <pc:spChg chg="mod">
          <ac:chgData name="Kees Schonebaum" userId="5017c10b-d38e-460b-8bfb-dc203c964322" providerId="ADAL" clId="{2B3902F8-8C5B-4C4D-8756-7B0FA1CBC29F}" dt="2024-03-13T07:47:54.290" v="1156"/>
          <ac:spMkLst>
            <pc:docMk/>
            <pc:sldMk cId="1290148990" sldId="295"/>
            <ac:spMk id="14" creationId="{B99402F2-BC60-4F1A-A271-032A317F6EB7}"/>
          </ac:spMkLst>
        </pc:spChg>
        <pc:graphicFrameChg chg="mod">
          <ac:chgData name="Kees Schonebaum" userId="5017c10b-d38e-460b-8bfb-dc203c964322" providerId="ADAL" clId="{2B3902F8-8C5B-4C4D-8756-7B0FA1CBC29F}" dt="2024-03-13T07:47:54.292" v="1164"/>
          <ac:graphicFrameMkLst>
            <pc:docMk/>
            <pc:sldMk cId="1290148990" sldId="295"/>
            <ac:graphicFrameMk id="11" creationId="{C5E073B2-02BC-B2B5-5C73-25C66EEF0930}"/>
          </ac:graphicFrameMkLst>
        </pc:graphicFrameChg>
        <pc:graphicFrameChg chg="mod">
          <ac:chgData name="Kees Schonebaum" userId="5017c10b-d38e-460b-8bfb-dc203c964322" providerId="ADAL" clId="{2B3902F8-8C5B-4C4D-8756-7B0FA1CBC29F}" dt="2024-03-13T07:47:54.292" v="1165"/>
          <ac:graphicFrameMkLst>
            <pc:docMk/>
            <pc:sldMk cId="1290148990" sldId="295"/>
            <ac:graphicFrameMk id="12" creationId="{1EC2CB33-BF54-390C-9188-68B7C92EDE93}"/>
          </ac:graphicFrameMkLst>
        </pc:graphicFrameChg>
        <pc:picChg chg="mod">
          <ac:chgData name="Kees Schonebaum" userId="5017c10b-d38e-460b-8bfb-dc203c964322" providerId="ADAL" clId="{2B3902F8-8C5B-4C4D-8756-7B0FA1CBC29F}" dt="2024-03-13T07:47:54.291" v="1162"/>
          <ac:picMkLst>
            <pc:docMk/>
            <pc:sldMk cId="1290148990" sldId="295"/>
            <ac:picMk id="8" creationId="{E1EED027-29AF-91D4-225C-CB6A76137869}"/>
          </ac:picMkLst>
        </pc:picChg>
        <pc:picChg chg="mod">
          <ac:chgData name="Kees Schonebaum" userId="5017c10b-d38e-460b-8bfb-dc203c964322" providerId="ADAL" clId="{2B3902F8-8C5B-4C4D-8756-7B0FA1CBC29F}" dt="2024-03-13T07:47:54.292" v="1163"/>
          <ac:picMkLst>
            <pc:docMk/>
            <pc:sldMk cId="1290148990" sldId="295"/>
            <ac:picMk id="9" creationId="{B467DFB5-881E-2184-9C1F-7CB4480D073B}"/>
          </ac:picMkLst>
        </pc:picChg>
        <pc:picChg chg="mod">
          <ac:chgData name="Kees Schonebaum" userId="5017c10b-d38e-460b-8bfb-dc203c964322" providerId="ADAL" clId="{2B3902F8-8C5B-4C4D-8756-7B0FA1CBC29F}" dt="2024-03-13T07:47:54.290" v="1157"/>
          <ac:picMkLst>
            <pc:docMk/>
            <pc:sldMk cId="1290148990" sldId="295"/>
            <ac:picMk id="10" creationId="{875C4B0B-2280-4997-A57D-267BBAD691A3}"/>
          </ac:picMkLst>
        </pc:picChg>
      </pc:sldChg>
      <pc:sldChg chg="del">
        <pc:chgData name="Kees Schonebaum" userId="5017c10b-d38e-460b-8bfb-dc203c964322" providerId="ADAL" clId="{2B3902F8-8C5B-4C4D-8756-7B0FA1CBC29F}" dt="2024-03-13T07:47:35.313" v="649" actId="47"/>
        <pc:sldMkLst>
          <pc:docMk/>
          <pc:sldMk cId="959597404" sldId="296"/>
        </pc:sldMkLst>
      </pc:sldChg>
      <pc:sldChg chg="del">
        <pc:chgData name="Kees Schonebaum" userId="5017c10b-d38e-460b-8bfb-dc203c964322" providerId="ADAL" clId="{2B3902F8-8C5B-4C4D-8756-7B0FA1CBC29F}" dt="2024-03-13T07:47:35.313" v="649" actId="47"/>
        <pc:sldMkLst>
          <pc:docMk/>
          <pc:sldMk cId="3525391949" sldId="312"/>
        </pc:sldMkLst>
      </pc:sldChg>
      <pc:sldChg chg="modSp add del">
        <pc:chgData name="Kees Schonebaum" userId="5017c10b-d38e-460b-8bfb-dc203c964322" providerId="ADAL" clId="{2B3902F8-8C5B-4C4D-8756-7B0FA1CBC29F}" dt="2024-03-13T07:47:37.316" v="692"/>
        <pc:sldMkLst>
          <pc:docMk/>
          <pc:sldMk cId="422133686" sldId="314"/>
        </pc:sldMkLst>
        <pc:spChg chg="mod">
          <ac:chgData name="Kees Schonebaum" userId="5017c10b-d38e-460b-8bfb-dc203c964322" providerId="ADAL" clId="{2B3902F8-8C5B-4C4D-8756-7B0FA1CBC29F}" dt="2024-03-13T07:47:37.295" v="655"/>
          <ac:spMkLst>
            <pc:docMk/>
            <pc:sldMk cId="422133686" sldId="314"/>
            <ac:spMk id="2" creationId="{987696AB-1209-4CD7-8E27-753E42340635}"/>
          </ac:spMkLst>
        </pc:spChg>
        <pc:spChg chg="mod">
          <ac:chgData name="Kees Schonebaum" userId="5017c10b-d38e-460b-8bfb-dc203c964322" providerId="ADAL" clId="{2B3902F8-8C5B-4C4D-8756-7B0FA1CBC29F}" dt="2024-03-13T07:47:37.295" v="656"/>
          <ac:spMkLst>
            <pc:docMk/>
            <pc:sldMk cId="422133686" sldId="314"/>
            <ac:spMk id="4" creationId="{52F55116-AD49-4CF9-871F-D25A48626AB8}"/>
          </ac:spMkLst>
        </pc:spChg>
        <pc:spChg chg="mod">
          <ac:chgData name="Kees Schonebaum" userId="5017c10b-d38e-460b-8bfb-dc203c964322" providerId="ADAL" clId="{2B3902F8-8C5B-4C4D-8756-7B0FA1CBC29F}" dt="2024-03-13T07:47:37.295" v="657"/>
          <ac:spMkLst>
            <pc:docMk/>
            <pc:sldMk cId="422133686" sldId="314"/>
            <ac:spMk id="5" creationId="{BDDBA7B8-31D5-43BB-82DE-2FCF7BDB564E}"/>
          </ac:spMkLst>
        </pc:spChg>
        <pc:spChg chg="mod">
          <ac:chgData name="Kees Schonebaum" userId="5017c10b-d38e-460b-8bfb-dc203c964322" providerId="ADAL" clId="{2B3902F8-8C5B-4C4D-8756-7B0FA1CBC29F}" dt="2024-03-13T07:47:37.295" v="658"/>
          <ac:spMkLst>
            <pc:docMk/>
            <pc:sldMk cId="422133686" sldId="314"/>
            <ac:spMk id="6" creationId="{3E525590-5BDA-43EB-99A9-3ABB26BCAA9F}"/>
          </ac:spMkLst>
        </pc:spChg>
        <pc:spChg chg="mod">
          <ac:chgData name="Kees Schonebaum" userId="5017c10b-d38e-460b-8bfb-dc203c964322" providerId="ADAL" clId="{2B3902F8-8C5B-4C4D-8756-7B0FA1CBC29F}" dt="2024-03-13T07:47:37.315" v="687"/>
          <ac:spMkLst>
            <pc:docMk/>
            <pc:sldMk cId="422133686" sldId="314"/>
            <ac:spMk id="7" creationId="{A2C41AF3-63B9-4D3F-A72D-AEF05B73DE37}"/>
          </ac:spMkLst>
        </pc:spChg>
        <pc:spChg chg="mod">
          <ac:chgData name="Kees Schonebaum" userId="5017c10b-d38e-460b-8bfb-dc203c964322" providerId="ADAL" clId="{2B3902F8-8C5B-4C4D-8756-7B0FA1CBC29F}" dt="2024-03-13T07:47:37.295" v="661"/>
          <ac:spMkLst>
            <pc:docMk/>
            <pc:sldMk cId="422133686" sldId="314"/>
            <ac:spMk id="14" creationId="{89B46C45-4703-4EC8-BAEC-B57AD065759E}"/>
          </ac:spMkLst>
        </pc:spChg>
        <pc:spChg chg="mod">
          <ac:chgData name="Kees Schonebaum" userId="5017c10b-d38e-460b-8bfb-dc203c964322" providerId="ADAL" clId="{2B3902F8-8C5B-4C4D-8756-7B0FA1CBC29F}" dt="2024-03-13T07:47:37.295" v="662"/>
          <ac:spMkLst>
            <pc:docMk/>
            <pc:sldMk cId="422133686" sldId="314"/>
            <ac:spMk id="19" creationId="{5468974B-AB4F-46D9-A693-E4D83CF64B16}"/>
          </ac:spMkLst>
        </pc:spChg>
        <pc:spChg chg="mod">
          <ac:chgData name="Kees Schonebaum" userId="5017c10b-d38e-460b-8bfb-dc203c964322" providerId="ADAL" clId="{2B3902F8-8C5B-4C4D-8756-7B0FA1CBC29F}" dt="2024-03-13T07:47:37.295" v="663"/>
          <ac:spMkLst>
            <pc:docMk/>
            <pc:sldMk cId="422133686" sldId="314"/>
            <ac:spMk id="20" creationId="{9E4B46CC-17DD-476B-8493-D889F91B5101}"/>
          </ac:spMkLst>
        </pc:spChg>
        <pc:spChg chg="mod">
          <ac:chgData name="Kees Schonebaum" userId="5017c10b-d38e-460b-8bfb-dc203c964322" providerId="ADAL" clId="{2B3902F8-8C5B-4C4D-8756-7B0FA1CBC29F}" dt="2024-03-13T07:47:37.295" v="664"/>
          <ac:spMkLst>
            <pc:docMk/>
            <pc:sldMk cId="422133686" sldId="314"/>
            <ac:spMk id="21" creationId="{86F1A82E-66D6-495B-B49C-464CB33C2E0B}"/>
          </ac:spMkLst>
        </pc:spChg>
        <pc:spChg chg="mod">
          <ac:chgData name="Kees Schonebaum" userId="5017c10b-d38e-460b-8bfb-dc203c964322" providerId="ADAL" clId="{2B3902F8-8C5B-4C4D-8756-7B0FA1CBC29F}" dt="2024-03-13T07:47:37.310" v="665"/>
          <ac:spMkLst>
            <pc:docMk/>
            <pc:sldMk cId="422133686" sldId="314"/>
            <ac:spMk id="22" creationId="{28D24441-F9C1-47CE-8D93-6CC6A3C5E50E}"/>
          </ac:spMkLst>
        </pc:spChg>
        <pc:spChg chg="mod">
          <ac:chgData name="Kees Schonebaum" userId="5017c10b-d38e-460b-8bfb-dc203c964322" providerId="ADAL" clId="{2B3902F8-8C5B-4C4D-8756-7B0FA1CBC29F}" dt="2024-03-13T07:47:37.310" v="666"/>
          <ac:spMkLst>
            <pc:docMk/>
            <pc:sldMk cId="422133686" sldId="314"/>
            <ac:spMk id="23" creationId="{627446F8-C303-4ACC-B47D-E2DA5B211FE1}"/>
          </ac:spMkLst>
        </pc:spChg>
        <pc:spChg chg="mod">
          <ac:chgData name="Kees Schonebaum" userId="5017c10b-d38e-460b-8bfb-dc203c964322" providerId="ADAL" clId="{2B3902F8-8C5B-4C4D-8756-7B0FA1CBC29F}" dt="2024-03-13T07:47:37.310" v="667"/>
          <ac:spMkLst>
            <pc:docMk/>
            <pc:sldMk cId="422133686" sldId="314"/>
            <ac:spMk id="24" creationId="{B09E043B-45ED-4CF4-9FDB-55B163167B0D}"/>
          </ac:spMkLst>
        </pc:spChg>
        <pc:spChg chg="mod">
          <ac:chgData name="Kees Schonebaum" userId="5017c10b-d38e-460b-8bfb-dc203c964322" providerId="ADAL" clId="{2B3902F8-8C5B-4C4D-8756-7B0FA1CBC29F}" dt="2024-03-13T07:47:37.310" v="668"/>
          <ac:spMkLst>
            <pc:docMk/>
            <pc:sldMk cId="422133686" sldId="314"/>
            <ac:spMk id="25" creationId="{38195CC7-C97A-46F5-900D-C303D11EA574}"/>
          </ac:spMkLst>
        </pc:spChg>
        <pc:spChg chg="mod">
          <ac:chgData name="Kees Schonebaum" userId="5017c10b-d38e-460b-8bfb-dc203c964322" providerId="ADAL" clId="{2B3902F8-8C5B-4C4D-8756-7B0FA1CBC29F}" dt="2024-03-13T07:47:37.310" v="671"/>
          <ac:spMkLst>
            <pc:docMk/>
            <pc:sldMk cId="422133686" sldId="314"/>
            <ac:spMk id="32" creationId="{4A137A2D-A200-4FE2-8789-FB7422BD3CA4}"/>
          </ac:spMkLst>
        </pc:spChg>
        <pc:spChg chg="mod">
          <ac:chgData name="Kees Schonebaum" userId="5017c10b-d38e-460b-8bfb-dc203c964322" providerId="ADAL" clId="{2B3902F8-8C5B-4C4D-8756-7B0FA1CBC29F}" dt="2024-03-13T07:47:37.310" v="672"/>
          <ac:spMkLst>
            <pc:docMk/>
            <pc:sldMk cId="422133686" sldId="314"/>
            <ac:spMk id="33" creationId="{A800E98F-954F-4EB8-88AA-439BC3429CD7}"/>
          </ac:spMkLst>
        </pc:spChg>
        <pc:spChg chg="mod">
          <ac:chgData name="Kees Schonebaum" userId="5017c10b-d38e-460b-8bfb-dc203c964322" providerId="ADAL" clId="{2B3902F8-8C5B-4C4D-8756-7B0FA1CBC29F}" dt="2024-03-13T07:47:37.310" v="673"/>
          <ac:spMkLst>
            <pc:docMk/>
            <pc:sldMk cId="422133686" sldId="314"/>
            <ac:spMk id="34" creationId="{D901A02B-F3BC-40F2-B454-FBECE43010BF}"/>
          </ac:spMkLst>
        </pc:spChg>
        <pc:spChg chg="mod">
          <ac:chgData name="Kees Schonebaum" userId="5017c10b-d38e-460b-8bfb-dc203c964322" providerId="ADAL" clId="{2B3902F8-8C5B-4C4D-8756-7B0FA1CBC29F}" dt="2024-03-13T07:47:37.310" v="674"/>
          <ac:spMkLst>
            <pc:docMk/>
            <pc:sldMk cId="422133686" sldId="314"/>
            <ac:spMk id="35" creationId="{5E7EE1E7-17CC-4F13-BD9E-2E249F44E3AF}"/>
          </ac:spMkLst>
        </pc:spChg>
        <pc:spChg chg="mod">
          <ac:chgData name="Kees Schonebaum" userId="5017c10b-d38e-460b-8bfb-dc203c964322" providerId="ADAL" clId="{2B3902F8-8C5B-4C4D-8756-7B0FA1CBC29F}" dt="2024-03-13T07:47:37.310" v="675"/>
          <ac:spMkLst>
            <pc:docMk/>
            <pc:sldMk cId="422133686" sldId="314"/>
            <ac:spMk id="36" creationId="{42347280-E7B7-4118-9BB5-9539B9864DFB}"/>
          </ac:spMkLst>
        </pc:spChg>
        <pc:spChg chg="mod">
          <ac:chgData name="Kees Schonebaum" userId="5017c10b-d38e-460b-8bfb-dc203c964322" providerId="ADAL" clId="{2B3902F8-8C5B-4C4D-8756-7B0FA1CBC29F}" dt="2024-03-13T07:47:37.315" v="685"/>
          <ac:spMkLst>
            <pc:docMk/>
            <pc:sldMk cId="422133686" sldId="314"/>
            <ac:spMk id="37" creationId="{81E0EC51-99F5-4A75-9B47-4CD40FCA4F21}"/>
          </ac:spMkLst>
        </pc:spChg>
        <pc:spChg chg="mod">
          <ac:chgData name="Kees Schonebaum" userId="5017c10b-d38e-460b-8bfb-dc203c964322" providerId="ADAL" clId="{2B3902F8-8C5B-4C4D-8756-7B0FA1CBC29F}" dt="2024-03-13T07:47:37.315" v="686"/>
          <ac:spMkLst>
            <pc:docMk/>
            <pc:sldMk cId="422133686" sldId="314"/>
            <ac:spMk id="39" creationId="{89992C32-7EAB-4383-A82E-BA3B0FACDC7A}"/>
          </ac:spMkLst>
        </pc:spChg>
        <pc:spChg chg="mod">
          <ac:chgData name="Kees Schonebaum" userId="5017c10b-d38e-460b-8bfb-dc203c964322" providerId="ADAL" clId="{2B3902F8-8C5B-4C4D-8756-7B0FA1CBC29F}" dt="2024-03-13T07:47:37.315" v="688"/>
          <ac:spMkLst>
            <pc:docMk/>
            <pc:sldMk cId="422133686" sldId="314"/>
            <ac:spMk id="40" creationId="{48F8A4A7-0AB5-4B56-A515-00894563B5CB}"/>
          </ac:spMkLst>
        </pc:spChg>
        <pc:spChg chg="mod">
          <ac:chgData name="Kees Schonebaum" userId="5017c10b-d38e-460b-8bfb-dc203c964322" providerId="ADAL" clId="{2B3902F8-8C5B-4C4D-8756-7B0FA1CBC29F}" dt="2024-03-13T07:47:37.316" v="691"/>
          <ac:spMkLst>
            <pc:docMk/>
            <pc:sldMk cId="422133686" sldId="314"/>
            <ac:spMk id="44" creationId="{4BE19277-A30C-4AD7-BFCD-4BC872A73026}"/>
          </ac:spMkLst>
        </pc:spChg>
        <pc:picChg chg="mod">
          <ac:chgData name="Kees Schonebaum" userId="5017c10b-d38e-460b-8bfb-dc203c964322" providerId="ADAL" clId="{2B3902F8-8C5B-4C4D-8756-7B0FA1CBC29F}" dt="2024-03-13T07:47:37.316" v="692"/>
          <ac:picMkLst>
            <pc:docMk/>
            <pc:sldMk cId="422133686" sldId="314"/>
            <ac:picMk id="3" creationId="{60BC6295-9F75-8E3A-F553-3E507EE9C9FD}"/>
          </ac:picMkLst>
        </pc:picChg>
        <pc:picChg chg="mod">
          <ac:chgData name="Kees Schonebaum" userId="5017c10b-d38e-460b-8bfb-dc203c964322" providerId="ADAL" clId="{2B3902F8-8C5B-4C4D-8756-7B0FA1CBC29F}" dt="2024-03-13T07:47:37.315" v="689"/>
          <ac:picMkLst>
            <pc:docMk/>
            <pc:sldMk cId="422133686" sldId="314"/>
            <ac:picMk id="9" creationId="{A7CB8D1F-7D45-44CB-9F3D-29F1D77B964B}"/>
          </ac:picMkLst>
        </pc:picChg>
        <pc:picChg chg="mod">
          <ac:chgData name="Kees Schonebaum" userId="5017c10b-d38e-460b-8bfb-dc203c964322" providerId="ADAL" clId="{2B3902F8-8C5B-4C4D-8756-7B0FA1CBC29F}" dt="2024-03-13T07:47:37.295" v="659"/>
          <ac:picMkLst>
            <pc:docMk/>
            <pc:sldMk cId="422133686" sldId="314"/>
            <ac:picMk id="10" creationId="{92BE580D-AFFF-4780-BA25-F4ACEEF36023}"/>
          </ac:picMkLst>
        </pc:picChg>
        <pc:picChg chg="mod">
          <ac:chgData name="Kees Schonebaum" userId="5017c10b-d38e-460b-8bfb-dc203c964322" providerId="ADAL" clId="{2B3902F8-8C5B-4C4D-8756-7B0FA1CBC29F}" dt="2024-03-13T07:47:37.295" v="660"/>
          <ac:picMkLst>
            <pc:docMk/>
            <pc:sldMk cId="422133686" sldId="314"/>
            <ac:picMk id="12" creationId="{E5AAE827-B31A-4AB6-9C79-902F6D698B53}"/>
          </ac:picMkLst>
        </pc:picChg>
        <pc:picChg chg="mod">
          <ac:chgData name="Kees Schonebaum" userId="5017c10b-d38e-460b-8bfb-dc203c964322" providerId="ADAL" clId="{2B3902F8-8C5B-4C4D-8756-7B0FA1CBC29F}" dt="2024-03-13T07:47:37.316" v="690"/>
          <ac:picMkLst>
            <pc:docMk/>
            <pc:sldMk cId="422133686" sldId="314"/>
            <ac:picMk id="13" creationId="{3D1DC429-09F8-4077-92F0-8FCD5BA91D8D}"/>
          </ac:picMkLst>
        </pc:picChg>
        <pc:picChg chg="mod">
          <ac:chgData name="Kees Schonebaum" userId="5017c10b-d38e-460b-8bfb-dc203c964322" providerId="ADAL" clId="{2B3902F8-8C5B-4C4D-8756-7B0FA1CBC29F}" dt="2024-03-13T07:47:37.295" v="654"/>
          <ac:picMkLst>
            <pc:docMk/>
            <pc:sldMk cId="422133686" sldId="314"/>
            <ac:picMk id="18" creationId="{A4032966-9627-4A02-839B-DF6D19D548B0}"/>
          </ac:picMkLst>
        </pc:picChg>
        <pc:picChg chg="mod">
          <ac:chgData name="Kees Schonebaum" userId="5017c10b-d38e-460b-8bfb-dc203c964322" providerId="ADAL" clId="{2B3902F8-8C5B-4C4D-8756-7B0FA1CBC29F}" dt="2024-03-13T07:47:37.310" v="669"/>
          <ac:picMkLst>
            <pc:docMk/>
            <pc:sldMk cId="422133686" sldId="314"/>
            <ac:picMk id="27" creationId="{318FB85E-D844-4BFA-9D4F-185477EAD184}"/>
          </ac:picMkLst>
        </pc:picChg>
        <pc:picChg chg="mod">
          <ac:chgData name="Kees Schonebaum" userId="5017c10b-d38e-460b-8bfb-dc203c964322" providerId="ADAL" clId="{2B3902F8-8C5B-4C4D-8756-7B0FA1CBC29F}" dt="2024-03-13T07:47:37.310" v="670"/>
          <ac:picMkLst>
            <pc:docMk/>
            <pc:sldMk cId="422133686" sldId="314"/>
            <ac:picMk id="30" creationId="{8C991644-ED59-477A-BBE0-612B245897EB}"/>
          </ac:picMkLst>
        </pc:picChg>
        <pc:picChg chg="mod">
          <ac:chgData name="Kees Schonebaum" userId="5017c10b-d38e-460b-8bfb-dc203c964322" providerId="ADAL" clId="{2B3902F8-8C5B-4C4D-8756-7B0FA1CBC29F}" dt="2024-03-13T07:47:37.310" v="681"/>
          <ac:picMkLst>
            <pc:docMk/>
            <pc:sldMk cId="422133686" sldId="314"/>
            <ac:picMk id="1026" creationId="{058A0355-4317-40D3-B875-2CA6D439078F}"/>
          </ac:picMkLst>
        </pc:picChg>
        <pc:cxnChg chg="mod">
          <ac:chgData name="Kees Schonebaum" userId="5017c10b-d38e-460b-8bfb-dc203c964322" providerId="ADAL" clId="{2B3902F8-8C5B-4C4D-8756-7B0FA1CBC29F}" dt="2024-03-13T07:47:37.295" v="653"/>
          <ac:cxnSpMkLst>
            <pc:docMk/>
            <pc:sldMk cId="422133686" sldId="314"/>
            <ac:cxnSpMk id="38" creationId="{753E9616-7B5D-4303-BD38-C48C6AAC11DF}"/>
          </ac:cxnSpMkLst>
        </pc:cxnChg>
        <pc:cxnChg chg="mod">
          <ac:chgData name="Kees Schonebaum" userId="5017c10b-d38e-460b-8bfb-dc203c964322" providerId="ADAL" clId="{2B3902F8-8C5B-4C4D-8756-7B0FA1CBC29F}" dt="2024-03-13T07:47:37.310" v="676"/>
          <ac:cxnSpMkLst>
            <pc:docMk/>
            <pc:sldMk cId="422133686" sldId="314"/>
            <ac:cxnSpMk id="41" creationId="{22CC60A5-682B-49E9-BE8C-CC4832703FFF}"/>
          </ac:cxnSpMkLst>
        </pc:cxnChg>
        <pc:cxnChg chg="mod">
          <ac:chgData name="Kees Schonebaum" userId="5017c10b-d38e-460b-8bfb-dc203c964322" providerId="ADAL" clId="{2B3902F8-8C5B-4C4D-8756-7B0FA1CBC29F}" dt="2024-03-13T07:47:37.310" v="677"/>
          <ac:cxnSpMkLst>
            <pc:docMk/>
            <pc:sldMk cId="422133686" sldId="314"/>
            <ac:cxnSpMk id="43" creationId="{82D44B90-D4FD-47F0-BD7A-7A81D6882B8D}"/>
          </ac:cxnSpMkLst>
        </pc:cxnChg>
        <pc:cxnChg chg="mod">
          <ac:chgData name="Kees Schonebaum" userId="5017c10b-d38e-460b-8bfb-dc203c964322" providerId="ADAL" clId="{2B3902F8-8C5B-4C4D-8756-7B0FA1CBC29F}" dt="2024-03-13T07:47:37.310" v="678"/>
          <ac:cxnSpMkLst>
            <pc:docMk/>
            <pc:sldMk cId="422133686" sldId="314"/>
            <ac:cxnSpMk id="47" creationId="{C1E1B500-7683-4E50-BFC4-1D1C515E6EA8}"/>
          </ac:cxnSpMkLst>
        </pc:cxnChg>
        <pc:cxnChg chg="mod">
          <ac:chgData name="Kees Schonebaum" userId="5017c10b-d38e-460b-8bfb-dc203c964322" providerId="ADAL" clId="{2B3902F8-8C5B-4C4D-8756-7B0FA1CBC29F}" dt="2024-03-13T07:47:37.310" v="684"/>
          <ac:cxnSpMkLst>
            <pc:docMk/>
            <pc:sldMk cId="422133686" sldId="314"/>
            <ac:cxnSpMk id="50" creationId="{E0BFAA1D-46C4-4B99-BBAB-D277DD5F8BDA}"/>
          </ac:cxnSpMkLst>
        </pc:cxnChg>
        <pc:cxnChg chg="mod">
          <ac:chgData name="Kees Schonebaum" userId="5017c10b-d38e-460b-8bfb-dc203c964322" providerId="ADAL" clId="{2B3902F8-8C5B-4C4D-8756-7B0FA1CBC29F}" dt="2024-03-13T07:47:37.310" v="679"/>
          <ac:cxnSpMkLst>
            <pc:docMk/>
            <pc:sldMk cId="422133686" sldId="314"/>
            <ac:cxnSpMk id="52" creationId="{838579EF-47B7-4365-8FB9-83439A976182}"/>
          </ac:cxnSpMkLst>
        </pc:cxnChg>
        <pc:cxnChg chg="mod">
          <ac:chgData name="Kees Schonebaum" userId="5017c10b-d38e-460b-8bfb-dc203c964322" providerId="ADAL" clId="{2B3902F8-8C5B-4C4D-8756-7B0FA1CBC29F}" dt="2024-03-13T07:47:37.310" v="680"/>
          <ac:cxnSpMkLst>
            <pc:docMk/>
            <pc:sldMk cId="422133686" sldId="314"/>
            <ac:cxnSpMk id="55" creationId="{F8F6C4B0-D84C-4874-9A95-4A3876DD5C68}"/>
          </ac:cxnSpMkLst>
        </pc:cxnChg>
        <pc:cxnChg chg="mod">
          <ac:chgData name="Kees Schonebaum" userId="5017c10b-d38e-460b-8bfb-dc203c964322" providerId="ADAL" clId="{2B3902F8-8C5B-4C4D-8756-7B0FA1CBC29F}" dt="2024-03-13T07:47:37.310" v="682"/>
          <ac:cxnSpMkLst>
            <pc:docMk/>
            <pc:sldMk cId="422133686" sldId="314"/>
            <ac:cxnSpMk id="58" creationId="{FDCB1A4C-921F-40C6-8E05-411CFCEEBC93}"/>
          </ac:cxnSpMkLst>
        </pc:cxnChg>
        <pc:cxnChg chg="mod">
          <ac:chgData name="Kees Schonebaum" userId="5017c10b-d38e-460b-8bfb-dc203c964322" providerId="ADAL" clId="{2B3902F8-8C5B-4C4D-8756-7B0FA1CBC29F}" dt="2024-03-13T07:47:37.310" v="683"/>
          <ac:cxnSpMkLst>
            <pc:docMk/>
            <pc:sldMk cId="422133686" sldId="314"/>
            <ac:cxnSpMk id="60" creationId="{1FCB4633-1FBC-4BB3-B126-73AEC91A427F}"/>
          </ac:cxnSpMkLst>
        </pc:cxnChg>
      </pc:sldChg>
      <pc:sldChg chg="del">
        <pc:chgData name="Kees Schonebaum" userId="5017c10b-d38e-460b-8bfb-dc203c964322" providerId="ADAL" clId="{2B3902F8-8C5B-4C4D-8756-7B0FA1CBC29F}" dt="2024-03-13T07:47:35.313" v="649" actId="47"/>
        <pc:sldMkLst>
          <pc:docMk/>
          <pc:sldMk cId="1621297560" sldId="570"/>
        </pc:sldMkLst>
      </pc:sldChg>
      <pc:sldChg chg="modSp modNotesTx">
        <pc:chgData name="Kees Schonebaum" userId="5017c10b-d38e-460b-8bfb-dc203c964322" providerId="ADAL" clId="{2B3902F8-8C5B-4C4D-8756-7B0FA1CBC29F}" dt="2024-03-13T07:47:37.570" v="697"/>
        <pc:sldMkLst>
          <pc:docMk/>
          <pc:sldMk cId="3029945671" sldId="2142532191"/>
        </pc:sldMkLst>
        <pc:spChg chg="mod">
          <ac:chgData name="Kees Schonebaum" userId="5017c10b-d38e-460b-8bfb-dc203c964322" providerId="ADAL" clId="{2B3902F8-8C5B-4C4D-8756-7B0FA1CBC29F}" dt="2024-03-13T07:47:37.570" v="693"/>
          <ac:spMkLst>
            <pc:docMk/>
            <pc:sldMk cId="3029945671" sldId="2142532191"/>
            <ac:spMk id="2" creationId="{00000000-0000-0000-0000-000000000000}"/>
          </ac:spMkLst>
        </pc:spChg>
        <pc:spChg chg="mod">
          <ac:chgData name="Kees Schonebaum" userId="5017c10b-d38e-460b-8bfb-dc203c964322" providerId="ADAL" clId="{2B3902F8-8C5B-4C4D-8756-7B0FA1CBC29F}" dt="2024-03-13T07:47:37.570" v="696"/>
          <ac:spMkLst>
            <pc:docMk/>
            <pc:sldMk cId="3029945671" sldId="2142532191"/>
            <ac:spMk id="4" creationId="{F49A5889-EAAA-133F-BAEF-C35D87B81936}"/>
          </ac:spMkLst>
        </pc:spChg>
        <pc:spChg chg="mod">
          <ac:chgData name="Kees Schonebaum" userId="5017c10b-d38e-460b-8bfb-dc203c964322" providerId="ADAL" clId="{2B3902F8-8C5B-4C4D-8756-7B0FA1CBC29F}" dt="2024-03-13T07:47:37.570" v="697"/>
          <ac:spMkLst>
            <pc:docMk/>
            <pc:sldMk cId="3029945671" sldId="2142532191"/>
            <ac:spMk id="5" creationId="{F37BC541-A491-D014-8AB3-F964E65E20DF}"/>
          </ac:spMkLst>
        </pc:spChg>
        <pc:spChg chg="mod">
          <ac:chgData name="Kees Schonebaum" userId="5017c10b-d38e-460b-8bfb-dc203c964322" providerId="ADAL" clId="{2B3902F8-8C5B-4C4D-8756-7B0FA1CBC29F}" dt="2024-03-13T07:47:37.570" v="694"/>
          <ac:spMkLst>
            <pc:docMk/>
            <pc:sldMk cId="3029945671" sldId="2142532191"/>
            <ac:spMk id="11" creationId="{C89DE20B-F4EA-2D0B-A36B-954E365243CB}"/>
          </ac:spMkLst>
        </pc:spChg>
        <pc:picChg chg="mod">
          <ac:chgData name="Kees Schonebaum" userId="5017c10b-d38e-460b-8bfb-dc203c964322" providerId="ADAL" clId="{2B3902F8-8C5B-4C4D-8756-7B0FA1CBC29F}" dt="2024-03-13T07:47:37.570" v="695"/>
          <ac:picMkLst>
            <pc:docMk/>
            <pc:sldMk cId="3029945671" sldId="2142532191"/>
            <ac:picMk id="3" creationId="{71A85438-27DE-F6CD-11DA-007383F64691}"/>
          </ac:picMkLst>
        </pc:picChg>
      </pc:sldChg>
      <pc:sldChg chg="modSp modNotesTx">
        <pc:chgData name="Kees Schonebaum" userId="5017c10b-d38e-460b-8bfb-dc203c964322" providerId="ADAL" clId="{2B3902F8-8C5B-4C4D-8756-7B0FA1CBC29F}" dt="2024-03-13T07:47:51.296" v="1104"/>
        <pc:sldMkLst>
          <pc:docMk/>
          <pc:sldMk cId="2211311648" sldId="2147470637"/>
        </pc:sldMkLst>
        <pc:spChg chg="mod">
          <ac:chgData name="Kees Schonebaum" userId="5017c10b-d38e-460b-8bfb-dc203c964322" providerId="ADAL" clId="{2B3902F8-8C5B-4C4D-8756-7B0FA1CBC29F}" dt="2024-03-13T07:47:51.296" v="1101"/>
          <ac:spMkLst>
            <pc:docMk/>
            <pc:sldMk cId="2211311648" sldId="2147470637"/>
            <ac:spMk id="2" creationId="{1CD64976-02EF-B673-6888-F96ADD06C1F1}"/>
          </ac:spMkLst>
        </pc:spChg>
        <pc:spChg chg="mod">
          <ac:chgData name="Kees Schonebaum" userId="5017c10b-d38e-460b-8bfb-dc203c964322" providerId="ADAL" clId="{2B3902F8-8C5B-4C4D-8756-7B0FA1CBC29F}" dt="2024-03-13T07:47:51.291" v="1084"/>
          <ac:spMkLst>
            <pc:docMk/>
            <pc:sldMk cId="2211311648" sldId="2147470637"/>
            <ac:spMk id="6" creationId="{1A37089D-20CD-4B58-ACDD-EC60EDA909E7}"/>
          </ac:spMkLst>
        </pc:spChg>
        <pc:spChg chg="mod">
          <ac:chgData name="Kees Schonebaum" userId="5017c10b-d38e-460b-8bfb-dc203c964322" providerId="ADAL" clId="{2B3902F8-8C5B-4C4D-8756-7B0FA1CBC29F}" dt="2024-03-13T07:47:51.296" v="1102"/>
          <ac:spMkLst>
            <pc:docMk/>
            <pc:sldMk cId="2211311648" sldId="2147470637"/>
            <ac:spMk id="8" creationId="{E089B64F-5477-25AC-7ED9-8595F6AB8788}"/>
          </ac:spMkLst>
        </pc:spChg>
        <pc:spChg chg="mod">
          <ac:chgData name="Kees Schonebaum" userId="5017c10b-d38e-460b-8bfb-dc203c964322" providerId="ADAL" clId="{2B3902F8-8C5B-4C4D-8756-7B0FA1CBC29F}" dt="2024-03-13T07:47:51.296" v="1103"/>
          <ac:spMkLst>
            <pc:docMk/>
            <pc:sldMk cId="2211311648" sldId="2147470637"/>
            <ac:spMk id="10" creationId="{B6EA673A-A2B6-898E-F3AC-262DC792B0E6}"/>
          </ac:spMkLst>
        </pc:spChg>
        <pc:spChg chg="mod">
          <ac:chgData name="Kees Schonebaum" userId="5017c10b-d38e-460b-8bfb-dc203c964322" providerId="ADAL" clId="{2B3902F8-8C5B-4C4D-8756-7B0FA1CBC29F}" dt="2024-03-13T07:47:51.293" v="1086"/>
          <ac:spMkLst>
            <pc:docMk/>
            <pc:sldMk cId="2211311648" sldId="2147470637"/>
            <ac:spMk id="212" creationId="{CC57DC13-3EC7-496C-9CFD-8058091F6DC4}"/>
          </ac:spMkLst>
        </pc:spChg>
        <pc:spChg chg="mod">
          <ac:chgData name="Kees Schonebaum" userId="5017c10b-d38e-460b-8bfb-dc203c964322" providerId="ADAL" clId="{2B3902F8-8C5B-4C4D-8756-7B0FA1CBC29F}" dt="2024-03-13T07:47:51.293" v="1087"/>
          <ac:spMkLst>
            <pc:docMk/>
            <pc:sldMk cId="2211311648" sldId="2147470637"/>
            <ac:spMk id="213" creationId="{A19427BC-E853-46C0-8D73-81F33999D1C5}"/>
          </ac:spMkLst>
        </pc:spChg>
        <pc:spChg chg="mod">
          <ac:chgData name="Kees Schonebaum" userId="5017c10b-d38e-460b-8bfb-dc203c964322" providerId="ADAL" clId="{2B3902F8-8C5B-4C4D-8756-7B0FA1CBC29F}" dt="2024-03-13T07:47:51.293" v="1088"/>
          <ac:spMkLst>
            <pc:docMk/>
            <pc:sldMk cId="2211311648" sldId="2147470637"/>
            <ac:spMk id="214" creationId="{8DC0FD68-B1D9-40B6-A6B4-CDEB99B44E74}"/>
          </ac:spMkLst>
        </pc:spChg>
        <pc:spChg chg="mod">
          <ac:chgData name="Kees Schonebaum" userId="5017c10b-d38e-460b-8bfb-dc203c964322" providerId="ADAL" clId="{2B3902F8-8C5B-4C4D-8756-7B0FA1CBC29F}" dt="2024-03-13T07:47:51.293" v="1089"/>
          <ac:spMkLst>
            <pc:docMk/>
            <pc:sldMk cId="2211311648" sldId="2147470637"/>
            <ac:spMk id="215" creationId="{F0EA9AF7-66B4-4D20-9D17-DD372519814A}"/>
          </ac:spMkLst>
        </pc:spChg>
        <pc:spChg chg="mod">
          <ac:chgData name="Kees Schonebaum" userId="5017c10b-d38e-460b-8bfb-dc203c964322" providerId="ADAL" clId="{2B3902F8-8C5B-4C4D-8756-7B0FA1CBC29F}" dt="2024-03-13T07:47:51.294" v="1090"/>
          <ac:spMkLst>
            <pc:docMk/>
            <pc:sldMk cId="2211311648" sldId="2147470637"/>
            <ac:spMk id="216" creationId="{CE087287-88C9-434A-9916-A8B5A4AD5A48}"/>
          </ac:spMkLst>
        </pc:spChg>
        <pc:spChg chg="mod">
          <ac:chgData name="Kees Schonebaum" userId="5017c10b-d38e-460b-8bfb-dc203c964322" providerId="ADAL" clId="{2B3902F8-8C5B-4C4D-8756-7B0FA1CBC29F}" dt="2024-03-13T07:47:51.294" v="1091"/>
          <ac:spMkLst>
            <pc:docMk/>
            <pc:sldMk cId="2211311648" sldId="2147470637"/>
            <ac:spMk id="217" creationId="{F16C210A-06A3-4727-B1C4-A95046FA34AE}"/>
          </ac:spMkLst>
        </pc:spChg>
        <pc:spChg chg="mod">
          <ac:chgData name="Kees Schonebaum" userId="5017c10b-d38e-460b-8bfb-dc203c964322" providerId="ADAL" clId="{2B3902F8-8C5B-4C4D-8756-7B0FA1CBC29F}" dt="2024-03-13T07:47:51.294" v="1092"/>
          <ac:spMkLst>
            <pc:docMk/>
            <pc:sldMk cId="2211311648" sldId="2147470637"/>
            <ac:spMk id="218" creationId="{285C6B19-4BEE-416D-84D5-60FDC08CFD78}"/>
          </ac:spMkLst>
        </pc:spChg>
        <pc:spChg chg="mod">
          <ac:chgData name="Kees Schonebaum" userId="5017c10b-d38e-460b-8bfb-dc203c964322" providerId="ADAL" clId="{2B3902F8-8C5B-4C4D-8756-7B0FA1CBC29F}" dt="2024-03-13T07:47:51.294" v="1093"/>
          <ac:spMkLst>
            <pc:docMk/>
            <pc:sldMk cId="2211311648" sldId="2147470637"/>
            <ac:spMk id="219" creationId="{F77262FE-5803-450E-935C-6F2BEF0C5ABA}"/>
          </ac:spMkLst>
        </pc:spChg>
        <pc:spChg chg="mod">
          <ac:chgData name="Kees Schonebaum" userId="5017c10b-d38e-460b-8bfb-dc203c964322" providerId="ADAL" clId="{2B3902F8-8C5B-4C4D-8756-7B0FA1CBC29F}" dt="2024-03-13T07:47:51.294" v="1094"/>
          <ac:spMkLst>
            <pc:docMk/>
            <pc:sldMk cId="2211311648" sldId="2147470637"/>
            <ac:spMk id="220" creationId="{16FCB819-0DBE-4C80-82E6-424AB76012B1}"/>
          </ac:spMkLst>
        </pc:spChg>
        <pc:spChg chg="mod">
          <ac:chgData name="Kees Schonebaum" userId="5017c10b-d38e-460b-8bfb-dc203c964322" providerId="ADAL" clId="{2B3902F8-8C5B-4C4D-8756-7B0FA1CBC29F}" dt="2024-03-13T07:47:51.295" v="1095"/>
          <ac:spMkLst>
            <pc:docMk/>
            <pc:sldMk cId="2211311648" sldId="2147470637"/>
            <ac:spMk id="221" creationId="{E3925F62-B3DC-4771-9ADC-D8A49C6F0725}"/>
          </ac:spMkLst>
        </pc:spChg>
        <pc:spChg chg="mod">
          <ac:chgData name="Kees Schonebaum" userId="5017c10b-d38e-460b-8bfb-dc203c964322" providerId="ADAL" clId="{2B3902F8-8C5B-4C4D-8756-7B0FA1CBC29F}" dt="2024-03-13T07:47:51.295" v="1096"/>
          <ac:spMkLst>
            <pc:docMk/>
            <pc:sldMk cId="2211311648" sldId="2147470637"/>
            <ac:spMk id="222" creationId="{B4F132AA-A81A-48E5-9030-51D5AA915D53}"/>
          </ac:spMkLst>
        </pc:spChg>
        <pc:spChg chg="mod">
          <ac:chgData name="Kees Schonebaum" userId="5017c10b-d38e-460b-8bfb-dc203c964322" providerId="ADAL" clId="{2B3902F8-8C5B-4C4D-8756-7B0FA1CBC29F}" dt="2024-03-13T07:47:51.295" v="1097"/>
          <ac:spMkLst>
            <pc:docMk/>
            <pc:sldMk cId="2211311648" sldId="2147470637"/>
            <ac:spMk id="223" creationId="{7D78DB07-982E-4854-AA73-18AB3CD2A23F}"/>
          </ac:spMkLst>
        </pc:spChg>
        <pc:spChg chg="mod">
          <ac:chgData name="Kees Schonebaum" userId="5017c10b-d38e-460b-8bfb-dc203c964322" providerId="ADAL" clId="{2B3902F8-8C5B-4C4D-8756-7B0FA1CBC29F}" dt="2024-03-13T07:47:51.295" v="1098"/>
          <ac:spMkLst>
            <pc:docMk/>
            <pc:sldMk cId="2211311648" sldId="2147470637"/>
            <ac:spMk id="224" creationId="{4E46714E-21D7-49F2-9E1E-CDD7FB014F6F}"/>
          </ac:spMkLst>
        </pc:spChg>
        <pc:spChg chg="mod">
          <ac:chgData name="Kees Schonebaum" userId="5017c10b-d38e-460b-8bfb-dc203c964322" providerId="ADAL" clId="{2B3902F8-8C5B-4C4D-8756-7B0FA1CBC29F}" dt="2024-03-13T07:47:51.295" v="1099"/>
          <ac:spMkLst>
            <pc:docMk/>
            <pc:sldMk cId="2211311648" sldId="2147470637"/>
            <ac:spMk id="225" creationId="{8B82D9A0-A1D0-4C2E-B034-E0F8949B4DB3}"/>
          </ac:spMkLst>
        </pc:spChg>
        <pc:spChg chg="mod">
          <ac:chgData name="Kees Schonebaum" userId="5017c10b-d38e-460b-8bfb-dc203c964322" providerId="ADAL" clId="{2B3902F8-8C5B-4C4D-8756-7B0FA1CBC29F}" dt="2024-03-13T07:47:51.295" v="1100"/>
          <ac:spMkLst>
            <pc:docMk/>
            <pc:sldMk cId="2211311648" sldId="2147470637"/>
            <ac:spMk id="226" creationId="{CD0E84E7-11CB-437F-AE03-40A3D04B4878}"/>
          </ac:spMkLst>
        </pc:spChg>
        <pc:grpChg chg="mod">
          <ac:chgData name="Kees Schonebaum" userId="5017c10b-d38e-460b-8bfb-dc203c964322" providerId="ADAL" clId="{2B3902F8-8C5B-4C4D-8756-7B0FA1CBC29F}" dt="2024-03-13T07:47:51.292" v="1085"/>
          <ac:grpSpMkLst>
            <pc:docMk/>
            <pc:sldMk cId="2211311648" sldId="2147470637"/>
            <ac:grpSpMk id="9" creationId="{35D88628-D2BD-4383-A745-80C555DD0C70}"/>
          </ac:grpSpMkLst>
        </pc:grpChg>
        <pc:picChg chg="mod">
          <ac:chgData name="Kees Schonebaum" userId="5017c10b-d38e-460b-8bfb-dc203c964322" providerId="ADAL" clId="{2B3902F8-8C5B-4C4D-8756-7B0FA1CBC29F}" dt="2024-03-13T07:47:51.296" v="1104"/>
          <ac:picMkLst>
            <pc:docMk/>
            <pc:sldMk cId="2211311648" sldId="2147470637"/>
            <ac:picMk id="4" creationId="{D2797F46-DB99-55E6-BA87-CD04D1F7F274}"/>
          </ac:picMkLst>
        </pc:picChg>
      </pc:sldChg>
      <pc:sldChg chg="modSp modNotesTx">
        <pc:chgData name="Kees Schonebaum" userId="5017c10b-d38e-460b-8bfb-dc203c964322" providerId="ADAL" clId="{2B3902F8-8C5B-4C4D-8756-7B0FA1CBC29F}" dt="2024-03-13T07:47:53.380" v="1150"/>
        <pc:sldMkLst>
          <pc:docMk/>
          <pc:sldMk cId="186969250" sldId="2147472514"/>
        </pc:sldMkLst>
        <pc:spChg chg="mod">
          <ac:chgData name="Kees Schonebaum" userId="5017c10b-d38e-460b-8bfb-dc203c964322" providerId="ADAL" clId="{2B3902F8-8C5B-4C4D-8756-7B0FA1CBC29F}" dt="2024-03-13T07:47:53.379" v="1144"/>
          <ac:spMkLst>
            <pc:docMk/>
            <pc:sldMk cId="186969250" sldId="2147472514"/>
            <ac:spMk id="3" creationId="{D6CA1E5E-0CB9-4601-87FD-5D0B97A7A46A}"/>
          </ac:spMkLst>
        </pc:spChg>
        <pc:spChg chg="mod">
          <ac:chgData name="Kees Schonebaum" userId="5017c10b-d38e-460b-8bfb-dc203c964322" providerId="ADAL" clId="{2B3902F8-8C5B-4C4D-8756-7B0FA1CBC29F}" dt="2024-03-13T07:47:53.379" v="1143"/>
          <ac:spMkLst>
            <pc:docMk/>
            <pc:sldMk cId="186969250" sldId="2147472514"/>
            <ac:spMk id="5" creationId="{3A5A9667-392D-4E41-9520-5DC065AA99EB}"/>
          </ac:spMkLst>
        </pc:spChg>
        <pc:grpChg chg="mod">
          <ac:chgData name="Kees Schonebaum" userId="5017c10b-d38e-460b-8bfb-dc203c964322" providerId="ADAL" clId="{2B3902F8-8C5B-4C4D-8756-7B0FA1CBC29F}" dt="2024-03-13T07:47:53.379" v="1146"/>
          <ac:grpSpMkLst>
            <pc:docMk/>
            <pc:sldMk cId="186969250" sldId="2147472514"/>
            <ac:grpSpMk id="9" creationId="{08B2AB60-60EA-42B5-9AAF-8D569B49C58C}"/>
          </ac:grpSpMkLst>
        </pc:grpChg>
        <pc:grpChg chg="mod">
          <ac:chgData name="Kees Schonebaum" userId="5017c10b-d38e-460b-8bfb-dc203c964322" providerId="ADAL" clId="{2B3902F8-8C5B-4C4D-8756-7B0FA1CBC29F}" dt="2024-03-13T07:47:53.380" v="1149"/>
          <ac:grpSpMkLst>
            <pc:docMk/>
            <pc:sldMk cId="186969250" sldId="2147472514"/>
            <ac:grpSpMk id="10" creationId="{0D3858E7-3A33-48B8-A070-BDEF6C9B2ED0}"/>
          </ac:grpSpMkLst>
        </pc:grpChg>
        <pc:grpChg chg="mod">
          <ac:chgData name="Kees Schonebaum" userId="5017c10b-d38e-460b-8bfb-dc203c964322" providerId="ADAL" clId="{2B3902F8-8C5B-4C4D-8756-7B0FA1CBC29F}" dt="2024-03-13T07:47:53.380" v="1147"/>
          <ac:grpSpMkLst>
            <pc:docMk/>
            <pc:sldMk cId="186969250" sldId="2147472514"/>
            <ac:grpSpMk id="11" creationId="{C3BB2215-67E0-4F26-817A-4BD2CFDE3528}"/>
          </ac:grpSpMkLst>
        </pc:grpChg>
        <pc:grpChg chg="mod">
          <ac:chgData name="Kees Schonebaum" userId="5017c10b-d38e-460b-8bfb-dc203c964322" providerId="ADAL" clId="{2B3902F8-8C5B-4C4D-8756-7B0FA1CBC29F}" dt="2024-03-13T07:47:53.379" v="1145"/>
          <ac:grpSpMkLst>
            <pc:docMk/>
            <pc:sldMk cId="186969250" sldId="2147472514"/>
            <ac:grpSpMk id="24" creationId="{E9089DA7-9DF5-4A4D-871D-68535EC69437}"/>
          </ac:grpSpMkLst>
        </pc:grpChg>
        <pc:graphicFrameChg chg="mod">
          <ac:chgData name="Kees Schonebaum" userId="5017c10b-d38e-460b-8bfb-dc203c964322" providerId="ADAL" clId="{2B3902F8-8C5B-4C4D-8756-7B0FA1CBC29F}" dt="2024-03-13T07:47:53.378" v="1142"/>
          <ac:graphicFrameMkLst>
            <pc:docMk/>
            <pc:sldMk cId="186969250" sldId="2147472514"/>
            <ac:graphicFrameMk id="7" creationId="{461CB5C0-D1D1-4CCC-BDBC-8F2EFAF58973}"/>
          </ac:graphicFrameMkLst>
        </pc:graphicFrameChg>
        <pc:picChg chg="mod">
          <ac:chgData name="Kees Schonebaum" userId="5017c10b-d38e-460b-8bfb-dc203c964322" providerId="ADAL" clId="{2B3902F8-8C5B-4C4D-8756-7B0FA1CBC29F}" dt="2024-03-13T07:47:53.380" v="1150"/>
          <ac:picMkLst>
            <pc:docMk/>
            <pc:sldMk cId="186969250" sldId="2147472514"/>
            <ac:picMk id="2" creationId="{859DDF1C-6A14-F4B2-9EE7-C0ACFD909ECB}"/>
          </ac:picMkLst>
        </pc:picChg>
        <pc:picChg chg="mod">
          <ac:chgData name="Kees Schonebaum" userId="5017c10b-d38e-460b-8bfb-dc203c964322" providerId="ADAL" clId="{2B3902F8-8C5B-4C4D-8756-7B0FA1CBC29F}" dt="2024-03-13T07:47:53.380" v="1148"/>
          <ac:picMkLst>
            <pc:docMk/>
            <pc:sldMk cId="186969250" sldId="2147472514"/>
            <ac:picMk id="6" creationId="{8C4338AF-542B-4C93-9515-237483BF8B45}"/>
          </ac:picMkLst>
        </pc:picChg>
      </pc:sldChg>
      <pc:sldChg chg="del">
        <pc:chgData name="Kees Schonebaum" userId="5017c10b-d38e-460b-8bfb-dc203c964322" providerId="ADAL" clId="{2B3902F8-8C5B-4C4D-8756-7B0FA1CBC29F}" dt="2024-03-13T07:47:35.313" v="649" actId="47"/>
        <pc:sldMkLst>
          <pc:docMk/>
          <pc:sldMk cId="2723901924" sldId="2147479388"/>
        </pc:sldMkLst>
      </pc:sldChg>
      <pc:sldChg chg="del">
        <pc:chgData name="Kees Schonebaum" userId="5017c10b-d38e-460b-8bfb-dc203c964322" providerId="ADAL" clId="{2B3902F8-8C5B-4C4D-8756-7B0FA1CBC29F}" dt="2024-03-13T07:47:35.313" v="649" actId="47"/>
        <pc:sldMkLst>
          <pc:docMk/>
          <pc:sldMk cId="2640357092" sldId="2147479405"/>
        </pc:sldMkLst>
      </pc:sldChg>
      <pc:sldChg chg="modSp">
        <pc:chgData name="Kees Schonebaum" userId="5017c10b-d38e-460b-8bfb-dc203c964322" providerId="ADAL" clId="{2B3902F8-8C5B-4C4D-8756-7B0FA1CBC29F}" dt="2024-03-13T07:47:51.935" v="1123"/>
        <pc:sldMkLst>
          <pc:docMk/>
          <pc:sldMk cId="2285193020" sldId="2147479406"/>
        </pc:sldMkLst>
        <pc:spChg chg="mod">
          <ac:chgData name="Kees Schonebaum" userId="5017c10b-d38e-460b-8bfb-dc203c964322" providerId="ADAL" clId="{2B3902F8-8C5B-4C4D-8756-7B0FA1CBC29F}" dt="2024-03-13T07:47:51.929" v="1106"/>
          <ac:spMkLst>
            <pc:docMk/>
            <pc:sldMk cId="2285193020" sldId="2147479406"/>
            <ac:spMk id="2" creationId="{94AE27F1-057C-4974-97E1-7DD47B51A293}"/>
          </ac:spMkLst>
        </pc:spChg>
        <pc:spChg chg="mod">
          <ac:chgData name="Kees Schonebaum" userId="5017c10b-d38e-460b-8bfb-dc203c964322" providerId="ADAL" clId="{2B3902F8-8C5B-4C4D-8756-7B0FA1CBC29F}" dt="2024-03-13T07:47:51.933" v="1113"/>
          <ac:spMkLst>
            <pc:docMk/>
            <pc:sldMk cId="2285193020" sldId="2147479406"/>
            <ac:spMk id="4" creationId="{9FD05D7B-14B0-F8C1-3562-1F3918850163}"/>
          </ac:spMkLst>
        </pc:spChg>
        <pc:spChg chg="mod">
          <ac:chgData name="Kees Schonebaum" userId="5017c10b-d38e-460b-8bfb-dc203c964322" providerId="ADAL" clId="{2B3902F8-8C5B-4C4D-8756-7B0FA1CBC29F}" dt="2024-03-13T07:47:51.933" v="1114"/>
          <ac:spMkLst>
            <pc:docMk/>
            <pc:sldMk cId="2285193020" sldId="2147479406"/>
            <ac:spMk id="5" creationId="{82934BD2-681E-7C1F-6647-8BA114A8924F}"/>
          </ac:spMkLst>
        </pc:spChg>
        <pc:spChg chg="mod">
          <ac:chgData name="Kees Schonebaum" userId="5017c10b-d38e-460b-8bfb-dc203c964322" providerId="ADAL" clId="{2B3902F8-8C5B-4C4D-8756-7B0FA1CBC29F}" dt="2024-03-13T07:47:51.933" v="1115"/>
          <ac:spMkLst>
            <pc:docMk/>
            <pc:sldMk cId="2285193020" sldId="2147479406"/>
            <ac:spMk id="6" creationId="{6CE40B2D-E4E7-85DB-D7A5-509E2FF0C887}"/>
          </ac:spMkLst>
        </pc:spChg>
        <pc:spChg chg="mod">
          <ac:chgData name="Kees Schonebaum" userId="5017c10b-d38e-460b-8bfb-dc203c964322" providerId="ADAL" clId="{2B3902F8-8C5B-4C4D-8756-7B0FA1CBC29F}" dt="2024-03-13T07:47:51.934" v="1116"/>
          <ac:spMkLst>
            <pc:docMk/>
            <pc:sldMk cId="2285193020" sldId="2147479406"/>
            <ac:spMk id="7" creationId="{0E18F737-CAFD-CC89-934C-9FAC0C69CE6F}"/>
          </ac:spMkLst>
        </pc:spChg>
        <pc:spChg chg="mod">
          <ac:chgData name="Kees Schonebaum" userId="5017c10b-d38e-460b-8bfb-dc203c964322" providerId="ADAL" clId="{2B3902F8-8C5B-4C4D-8756-7B0FA1CBC29F}" dt="2024-03-13T07:47:51.934" v="1117"/>
          <ac:spMkLst>
            <pc:docMk/>
            <pc:sldMk cId="2285193020" sldId="2147479406"/>
            <ac:spMk id="8" creationId="{5E2F0DF8-15D9-B3BC-461D-C44FCACFE809}"/>
          </ac:spMkLst>
        </pc:spChg>
        <pc:spChg chg="mod">
          <ac:chgData name="Kees Schonebaum" userId="5017c10b-d38e-460b-8bfb-dc203c964322" providerId="ADAL" clId="{2B3902F8-8C5B-4C4D-8756-7B0FA1CBC29F}" dt="2024-03-13T07:47:51.934" v="1118"/>
          <ac:spMkLst>
            <pc:docMk/>
            <pc:sldMk cId="2285193020" sldId="2147479406"/>
            <ac:spMk id="9" creationId="{053CF431-2D63-AC39-3419-BB73DB1B78CF}"/>
          </ac:spMkLst>
        </pc:spChg>
        <pc:spChg chg="mod">
          <ac:chgData name="Kees Schonebaum" userId="5017c10b-d38e-460b-8bfb-dc203c964322" providerId="ADAL" clId="{2B3902F8-8C5B-4C4D-8756-7B0FA1CBC29F}" dt="2024-03-13T07:47:51.934" v="1119"/>
          <ac:spMkLst>
            <pc:docMk/>
            <pc:sldMk cId="2285193020" sldId="2147479406"/>
            <ac:spMk id="10" creationId="{31B25BED-D5CD-3ED9-D227-A65D587B0549}"/>
          </ac:spMkLst>
        </pc:spChg>
        <pc:spChg chg="mod">
          <ac:chgData name="Kees Schonebaum" userId="5017c10b-d38e-460b-8bfb-dc203c964322" providerId="ADAL" clId="{2B3902F8-8C5B-4C4D-8756-7B0FA1CBC29F}" dt="2024-03-13T07:47:51.934" v="1120"/>
          <ac:spMkLst>
            <pc:docMk/>
            <pc:sldMk cId="2285193020" sldId="2147479406"/>
            <ac:spMk id="11" creationId="{91A07D10-F159-34A9-55D3-F40FF296FAFC}"/>
          </ac:spMkLst>
        </pc:spChg>
        <pc:spChg chg="mod">
          <ac:chgData name="Kees Schonebaum" userId="5017c10b-d38e-460b-8bfb-dc203c964322" providerId="ADAL" clId="{2B3902F8-8C5B-4C4D-8756-7B0FA1CBC29F}" dt="2024-03-13T07:47:51.934" v="1121"/>
          <ac:spMkLst>
            <pc:docMk/>
            <pc:sldMk cId="2285193020" sldId="2147479406"/>
            <ac:spMk id="12" creationId="{6E23FBBB-E871-7360-92F2-E167DB9073A9}"/>
          </ac:spMkLst>
        </pc:spChg>
        <pc:spChg chg="mod">
          <ac:chgData name="Kees Schonebaum" userId="5017c10b-d38e-460b-8bfb-dc203c964322" providerId="ADAL" clId="{2B3902F8-8C5B-4C4D-8756-7B0FA1CBC29F}" dt="2024-03-13T07:47:51.935" v="1122"/>
          <ac:spMkLst>
            <pc:docMk/>
            <pc:sldMk cId="2285193020" sldId="2147479406"/>
            <ac:spMk id="13" creationId="{1A8CCC7A-E1FE-06D1-E9F2-CB10F2BA0530}"/>
          </ac:spMkLst>
        </pc:spChg>
        <pc:spChg chg="mod">
          <ac:chgData name="Kees Schonebaum" userId="5017c10b-d38e-460b-8bfb-dc203c964322" providerId="ADAL" clId="{2B3902F8-8C5B-4C4D-8756-7B0FA1CBC29F}" dt="2024-03-13T07:47:51.933" v="1112"/>
          <ac:spMkLst>
            <pc:docMk/>
            <pc:sldMk cId="2285193020" sldId="2147479406"/>
            <ac:spMk id="224" creationId="{918AACC0-DCD8-469F-9F70-8912DE523786}"/>
          </ac:spMkLst>
        </pc:spChg>
        <pc:spChg chg="mod">
          <ac:chgData name="Kees Schonebaum" userId="5017c10b-d38e-460b-8bfb-dc203c964322" providerId="ADAL" clId="{2B3902F8-8C5B-4C4D-8756-7B0FA1CBC29F}" dt="2024-03-13T07:47:51.930" v="1107"/>
          <ac:spMkLst>
            <pc:docMk/>
            <pc:sldMk cId="2285193020" sldId="2147479406"/>
            <ac:spMk id="374" creationId="{E4619C0D-3156-7C46-3210-FE8875D4FA6F}"/>
          </ac:spMkLst>
        </pc:spChg>
        <pc:spChg chg="mod">
          <ac:chgData name="Kees Schonebaum" userId="5017c10b-d38e-460b-8bfb-dc203c964322" providerId="ADAL" clId="{2B3902F8-8C5B-4C4D-8756-7B0FA1CBC29F}" dt="2024-03-13T07:47:51.930" v="1108"/>
          <ac:spMkLst>
            <pc:docMk/>
            <pc:sldMk cId="2285193020" sldId="2147479406"/>
            <ac:spMk id="383" creationId="{111BB38F-0539-09D8-3112-DF684493E247}"/>
          </ac:spMkLst>
        </pc:spChg>
        <pc:spChg chg="mod">
          <ac:chgData name="Kees Schonebaum" userId="5017c10b-d38e-460b-8bfb-dc203c964322" providerId="ADAL" clId="{2B3902F8-8C5B-4C4D-8756-7B0FA1CBC29F}" dt="2024-03-13T07:47:51.932" v="1111"/>
          <ac:spMkLst>
            <pc:docMk/>
            <pc:sldMk cId="2285193020" sldId="2147479406"/>
            <ac:spMk id="703" creationId="{701346D6-692D-EDDE-BC72-AD4FC966E99D}"/>
          </ac:spMkLst>
        </pc:spChg>
        <pc:grpChg chg="mod">
          <ac:chgData name="Kees Schonebaum" userId="5017c10b-d38e-460b-8bfb-dc203c964322" providerId="ADAL" clId="{2B3902F8-8C5B-4C4D-8756-7B0FA1CBC29F}" dt="2024-03-13T07:47:51.931" v="1109"/>
          <ac:grpSpMkLst>
            <pc:docMk/>
            <pc:sldMk cId="2285193020" sldId="2147479406"/>
            <ac:grpSpMk id="27" creationId="{7A57C7A5-3722-B0DE-4DA9-1C3C0107EAD9}"/>
          </ac:grpSpMkLst>
        </pc:grpChg>
        <pc:grpChg chg="mod">
          <ac:chgData name="Kees Schonebaum" userId="5017c10b-d38e-460b-8bfb-dc203c964322" providerId="ADAL" clId="{2B3902F8-8C5B-4C4D-8756-7B0FA1CBC29F}" dt="2024-03-13T07:47:51.932" v="1110"/>
          <ac:grpSpMkLst>
            <pc:docMk/>
            <pc:sldMk cId="2285193020" sldId="2147479406"/>
            <ac:grpSpMk id="598" creationId="{E4650389-D037-3C2E-A28C-FBCEC415D00F}"/>
          </ac:grpSpMkLst>
        </pc:grpChg>
        <pc:graphicFrameChg chg="mod">
          <ac:chgData name="Kees Schonebaum" userId="5017c10b-d38e-460b-8bfb-dc203c964322" providerId="ADAL" clId="{2B3902F8-8C5B-4C4D-8756-7B0FA1CBC29F}" dt="2024-03-13T07:47:51.929" v="1105"/>
          <ac:graphicFrameMkLst>
            <pc:docMk/>
            <pc:sldMk cId="2285193020" sldId="2147479406"/>
            <ac:graphicFrameMk id="3" creationId="{8FFD6965-FE53-454D-8E7E-65C16B247597}"/>
          </ac:graphicFrameMkLst>
        </pc:graphicFrameChg>
        <pc:picChg chg="mod">
          <ac:chgData name="Kees Schonebaum" userId="5017c10b-d38e-460b-8bfb-dc203c964322" providerId="ADAL" clId="{2B3902F8-8C5B-4C4D-8756-7B0FA1CBC29F}" dt="2024-03-13T07:47:51.935" v="1123"/>
          <ac:picMkLst>
            <pc:docMk/>
            <pc:sldMk cId="2285193020" sldId="2147479406"/>
            <ac:picMk id="14" creationId="{4591842E-A386-6AA0-4C2E-3C37E6905B59}"/>
          </ac:picMkLst>
        </pc:picChg>
      </pc:sldChg>
      <pc:sldChg chg="modSp">
        <pc:chgData name="Kees Schonebaum" userId="5017c10b-d38e-460b-8bfb-dc203c964322" providerId="ADAL" clId="{2B3902F8-8C5B-4C4D-8756-7B0FA1CBC29F}" dt="2024-03-13T07:47:52.394" v="1125"/>
        <pc:sldMkLst>
          <pc:docMk/>
          <pc:sldMk cId="2334676464" sldId="2147479407"/>
        </pc:sldMkLst>
        <pc:spChg chg="mod">
          <ac:chgData name="Kees Schonebaum" userId="5017c10b-d38e-460b-8bfb-dc203c964322" providerId="ADAL" clId="{2B3902F8-8C5B-4C4D-8756-7B0FA1CBC29F}" dt="2024-03-13T07:47:52.393" v="1124"/>
          <ac:spMkLst>
            <pc:docMk/>
            <pc:sldMk cId="2334676464" sldId="2147479407"/>
            <ac:spMk id="2" creationId="{00000000-0000-0000-0000-000000000000}"/>
          </ac:spMkLst>
        </pc:spChg>
        <pc:picChg chg="mod">
          <ac:chgData name="Kees Schonebaum" userId="5017c10b-d38e-460b-8bfb-dc203c964322" providerId="ADAL" clId="{2B3902F8-8C5B-4C4D-8756-7B0FA1CBC29F}" dt="2024-03-13T07:47:52.394" v="1125"/>
          <ac:picMkLst>
            <pc:docMk/>
            <pc:sldMk cId="2334676464" sldId="2147479407"/>
            <ac:picMk id="3" creationId="{113E9BC9-DADC-9AA5-B83A-E265BEBC2FB6}"/>
          </ac:picMkLst>
        </pc:picChg>
      </pc:sldChg>
      <pc:sldChg chg="modSp">
        <pc:chgData name="Kees Schonebaum" userId="5017c10b-d38e-460b-8bfb-dc203c964322" providerId="ADAL" clId="{2B3902F8-8C5B-4C4D-8756-7B0FA1CBC29F}" dt="2024-03-13T07:47:43.440" v="760"/>
        <pc:sldMkLst>
          <pc:docMk/>
          <pc:sldMk cId="430618412" sldId="2147479408"/>
        </pc:sldMkLst>
        <pc:spChg chg="mod">
          <ac:chgData name="Kees Schonebaum" userId="5017c10b-d38e-460b-8bfb-dc203c964322" providerId="ADAL" clId="{2B3902F8-8C5B-4C4D-8756-7B0FA1CBC29F}" dt="2024-03-13T07:47:43.439" v="759"/>
          <ac:spMkLst>
            <pc:docMk/>
            <pc:sldMk cId="430618412" sldId="2147479408"/>
            <ac:spMk id="2" creationId="{00000000-0000-0000-0000-000000000000}"/>
          </ac:spMkLst>
        </pc:spChg>
        <pc:picChg chg="mod">
          <ac:chgData name="Kees Schonebaum" userId="5017c10b-d38e-460b-8bfb-dc203c964322" providerId="ADAL" clId="{2B3902F8-8C5B-4C4D-8756-7B0FA1CBC29F}" dt="2024-03-13T07:47:43.440" v="760"/>
          <ac:picMkLst>
            <pc:docMk/>
            <pc:sldMk cId="430618412" sldId="2147479408"/>
            <ac:picMk id="3" creationId="{3F7AD043-8AFA-9724-CA8A-C157C64FB89D}"/>
          </ac:picMkLst>
        </pc:picChg>
      </pc:sldChg>
      <pc:sldChg chg="modSp">
        <pc:chgData name="Kees Schonebaum" userId="5017c10b-d38e-460b-8bfb-dc203c964322" providerId="ADAL" clId="{2B3902F8-8C5B-4C4D-8756-7B0FA1CBC29F}" dt="2024-03-13T07:47:38.670" v="720"/>
        <pc:sldMkLst>
          <pc:docMk/>
          <pc:sldMk cId="1747812125" sldId="2147479409"/>
        </pc:sldMkLst>
        <pc:spChg chg="mod">
          <ac:chgData name="Kees Schonebaum" userId="5017c10b-d38e-460b-8bfb-dc203c964322" providerId="ADAL" clId="{2B3902F8-8C5B-4C4D-8756-7B0FA1CBC29F}" dt="2024-03-13T07:47:38.670" v="719"/>
          <ac:spMkLst>
            <pc:docMk/>
            <pc:sldMk cId="1747812125" sldId="2147479409"/>
            <ac:spMk id="2" creationId="{00000000-0000-0000-0000-000000000000}"/>
          </ac:spMkLst>
        </pc:spChg>
        <pc:picChg chg="mod">
          <ac:chgData name="Kees Schonebaum" userId="5017c10b-d38e-460b-8bfb-dc203c964322" providerId="ADAL" clId="{2B3902F8-8C5B-4C4D-8756-7B0FA1CBC29F}" dt="2024-03-13T07:47:38.670" v="720"/>
          <ac:picMkLst>
            <pc:docMk/>
            <pc:sldMk cId="1747812125" sldId="2147479409"/>
            <ac:picMk id="3" creationId="{286E2E12-7911-31E6-5BC5-4C3444A2F85F}"/>
          </ac:picMkLst>
        </pc:picChg>
      </pc:sldChg>
      <pc:sldChg chg="modSp del">
        <pc:chgData name="Kees Schonebaum" userId="5017c10b-d38e-460b-8bfb-dc203c964322" providerId="ADAL" clId="{2B3902F8-8C5B-4C4D-8756-7B0FA1CBC29F}" dt="2024-03-13T07:47:35.313" v="649" actId="47"/>
        <pc:sldMkLst>
          <pc:docMk/>
          <pc:sldMk cId="3107125601" sldId="2147479410"/>
        </pc:sldMkLst>
        <pc:spChg chg="mod">
          <ac:chgData name="Kees Schonebaum" userId="5017c10b-d38e-460b-8bfb-dc203c964322" providerId="ADAL" clId="{2B3902F8-8C5B-4C4D-8756-7B0FA1CBC29F}" dt="2024-03-13T07:47:32.565" v="647"/>
          <ac:spMkLst>
            <pc:docMk/>
            <pc:sldMk cId="3107125601" sldId="2147479410"/>
            <ac:spMk id="2" creationId="{00000000-0000-0000-0000-000000000000}"/>
          </ac:spMkLst>
        </pc:spChg>
        <pc:spChg chg="mod">
          <ac:chgData name="Kees Schonebaum" userId="5017c10b-d38e-460b-8bfb-dc203c964322" providerId="ADAL" clId="{2B3902F8-8C5B-4C4D-8756-7B0FA1CBC29F}" dt="2024-03-13T07:47:32.565" v="648"/>
          <ac:spMkLst>
            <pc:docMk/>
            <pc:sldMk cId="3107125601" sldId="2147479410"/>
            <ac:spMk id="3" creationId="{00000000-0000-0000-0000-000000000000}"/>
          </ac:spMkLst>
        </pc:spChg>
      </pc:sldChg>
      <pc:sldChg chg="modSp">
        <pc:chgData name="Kees Schonebaum" userId="5017c10b-d38e-460b-8bfb-dc203c964322" providerId="ADAL" clId="{2B3902F8-8C5B-4C4D-8756-7B0FA1CBC29F}" dt="2024-03-13T07:47:37.853" v="699"/>
        <pc:sldMkLst>
          <pc:docMk/>
          <pc:sldMk cId="2039358497" sldId="2147479411"/>
        </pc:sldMkLst>
        <pc:spChg chg="mod">
          <ac:chgData name="Kees Schonebaum" userId="5017c10b-d38e-460b-8bfb-dc203c964322" providerId="ADAL" clId="{2B3902F8-8C5B-4C4D-8756-7B0FA1CBC29F}" dt="2024-03-13T07:47:37.853" v="698"/>
          <ac:spMkLst>
            <pc:docMk/>
            <pc:sldMk cId="2039358497" sldId="2147479411"/>
            <ac:spMk id="2" creationId="{00000000-0000-0000-0000-000000000000}"/>
          </ac:spMkLst>
        </pc:spChg>
        <pc:picChg chg="mod">
          <ac:chgData name="Kees Schonebaum" userId="5017c10b-d38e-460b-8bfb-dc203c964322" providerId="ADAL" clId="{2B3902F8-8C5B-4C4D-8756-7B0FA1CBC29F}" dt="2024-03-13T07:47:37.853" v="699"/>
          <ac:picMkLst>
            <pc:docMk/>
            <pc:sldMk cId="2039358497" sldId="2147479411"/>
            <ac:picMk id="3" creationId="{198BC3EC-50F5-765E-8A55-7E228ACFF976}"/>
          </ac:picMkLst>
        </pc:picChg>
      </pc:sldChg>
      <pc:sldChg chg="del">
        <pc:chgData name="Kees Schonebaum" userId="5017c10b-d38e-460b-8bfb-dc203c964322" providerId="ADAL" clId="{2B3902F8-8C5B-4C4D-8756-7B0FA1CBC29F}" dt="2024-03-13T07:47:35.313" v="649" actId="47"/>
        <pc:sldMkLst>
          <pc:docMk/>
          <pc:sldMk cId="2879599582" sldId="2147479412"/>
        </pc:sldMkLst>
      </pc:sldChg>
      <pc:sldChg chg="modSp modNotesTx">
        <pc:chgData name="Kees Schonebaum" userId="5017c10b-d38e-460b-8bfb-dc203c964322" providerId="ADAL" clId="{2B3902F8-8C5B-4C4D-8756-7B0FA1CBC29F}" dt="2024-03-13T07:47:50.283" v="1083" actId="20577"/>
        <pc:sldMkLst>
          <pc:docMk/>
          <pc:sldMk cId="2347166945" sldId="2147479413"/>
        </pc:sldMkLst>
        <pc:spChg chg="mod">
          <ac:chgData name="Kees Schonebaum" userId="5017c10b-d38e-460b-8bfb-dc203c964322" providerId="ADAL" clId="{2B3902F8-8C5B-4C4D-8756-7B0FA1CBC29F}" dt="2024-03-13T07:47:49.108" v="1041"/>
          <ac:spMkLst>
            <pc:docMk/>
            <pc:sldMk cId="2347166945" sldId="2147479413"/>
            <ac:spMk id="2" creationId="{8BA342B3-0575-B0C1-B524-E25FDA6E0BD7}"/>
          </ac:spMkLst>
        </pc:spChg>
        <pc:spChg chg="mod">
          <ac:chgData name="Kees Schonebaum" userId="5017c10b-d38e-460b-8bfb-dc203c964322" providerId="ADAL" clId="{2B3902F8-8C5B-4C4D-8756-7B0FA1CBC29F}" dt="2024-03-13T07:47:49.109" v="1043"/>
          <ac:spMkLst>
            <pc:docMk/>
            <pc:sldMk cId="2347166945" sldId="2147479413"/>
            <ac:spMk id="3" creationId="{F1F32818-6842-C8A6-3769-17E7C4A28E2E}"/>
          </ac:spMkLst>
        </pc:spChg>
        <pc:spChg chg="mod">
          <ac:chgData name="Kees Schonebaum" userId="5017c10b-d38e-460b-8bfb-dc203c964322" providerId="ADAL" clId="{2B3902F8-8C5B-4C4D-8756-7B0FA1CBC29F}" dt="2024-03-13T07:47:49.109" v="1044"/>
          <ac:spMkLst>
            <pc:docMk/>
            <pc:sldMk cId="2347166945" sldId="2147479413"/>
            <ac:spMk id="4" creationId="{E3E1230E-DE83-F10D-6883-E3C8A5547298}"/>
          </ac:spMkLst>
        </pc:spChg>
        <pc:spChg chg="mod">
          <ac:chgData name="Kees Schonebaum" userId="5017c10b-d38e-460b-8bfb-dc203c964322" providerId="ADAL" clId="{2B3902F8-8C5B-4C4D-8756-7B0FA1CBC29F}" dt="2024-03-13T07:47:49.108" v="1042"/>
          <ac:spMkLst>
            <pc:docMk/>
            <pc:sldMk cId="2347166945" sldId="2147479413"/>
            <ac:spMk id="5" creationId="{A6092E7A-DA31-01AF-B338-4997A8D9A4C2}"/>
          </ac:spMkLst>
        </pc:spChg>
        <pc:spChg chg="mod">
          <ac:chgData name="Kees Schonebaum" userId="5017c10b-d38e-460b-8bfb-dc203c964322" providerId="ADAL" clId="{2B3902F8-8C5B-4C4D-8756-7B0FA1CBC29F}" dt="2024-03-13T07:47:49.109" v="1045"/>
          <ac:spMkLst>
            <pc:docMk/>
            <pc:sldMk cId="2347166945" sldId="2147479413"/>
            <ac:spMk id="12" creationId="{8A782AA3-BE05-811A-7B02-28E8850F6417}"/>
          </ac:spMkLst>
        </pc:spChg>
        <pc:spChg chg="mod">
          <ac:chgData name="Kees Schonebaum" userId="5017c10b-d38e-460b-8bfb-dc203c964322" providerId="ADAL" clId="{2B3902F8-8C5B-4C4D-8756-7B0FA1CBC29F}" dt="2024-03-13T07:47:49.109" v="1046"/>
          <ac:spMkLst>
            <pc:docMk/>
            <pc:sldMk cId="2347166945" sldId="2147479413"/>
            <ac:spMk id="13" creationId="{CCBEB577-23EC-00B0-B0CF-34F721601D2F}"/>
          </ac:spMkLst>
        </pc:spChg>
        <pc:spChg chg="mod">
          <ac:chgData name="Kees Schonebaum" userId="5017c10b-d38e-460b-8bfb-dc203c964322" providerId="ADAL" clId="{2B3902F8-8C5B-4C4D-8756-7B0FA1CBC29F}" dt="2024-03-13T07:47:49.110" v="1047"/>
          <ac:spMkLst>
            <pc:docMk/>
            <pc:sldMk cId="2347166945" sldId="2147479413"/>
            <ac:spMk id="14" creationId="{0F9DAC86-BEFB-ADEE-3A4E-5F3DA5BD4513}"/>
          </ac:spMkLst>
        </pc:spChg>
        <pc:spChg chg="mod">
          <ac:chgData name="Kees Schonebaum" userId="5017c10b-d38e-460b-8bfb-dc203c964322" providerId="ADAL" clId="{2B3902F8-8C5B-4C4D-8756-7B0FA1CBC29F}" dt="2024-03-13T07:47:49.110" v="1048"/>
          <ac:spMkLst>
            <pc:docMk/>
            <pc:sldMk cId="2347166945" sldId="2147479413"/>
            <ac:spMk id="15" creationId="{E5EDA428-92AC-9B26-BE57-51ADE8049D0D}"/>
          </ac:spMkLst>
        </pc:spChg>
        <pc:spChg chg="mod">
          <ac:chgData name="Kees Schonebaum" userId="5017c10b-d38e-460b-8bfb-dc203c964322" providerId="ADAL" clId="{2B3902F8-8C5B-4C4D-8756-7B0FA1CBC29F}" dt="2024-03-13T07:47:49.110" v="1049"/>
          <ac:spMkLst>
            <pc:docMk/>
            <pc:sldMk cId="2347166945" sldId="2147479413"/>
            <ac:spMk id="16" creationId="{42CD4AAD-15FF-A72C-0C2C-348120942C64}"/>
          </ac:spMkLst>
        </pc:spChg>
        <pc:spChg chg="mod">
          <ac:chgData name="Kees Schonebaum" userId="5017c10b-d38e-460b-8bfb-dc203c964322" providerId="ADAL" clId="{2B3902F8-8C5B-4C4D-8756-7B0FA1CBC29F}" dt="2024-03-13T07:47:49.110" v="1050"/>
          <ac:spMkLst>
            <pc:docMk/>
            <pc:sldMk cId="2347166945" sldId="2147479413"/>
            <ac:spMk id="17" creationId="{A1A93D42-8DC5-1EA0-F168-4B4DE9974DCD}"/>
          </ac:spMkLst>
        </pc:spChg>
        <pc:spChg chg="mod">
          <ac:chgData name="Kees Schonebaum" userId="5017c10b-d38e-460b-8bfb-dc203c964322" providerId="ADAL" clId="{2B3902F8-8C5B-4C4D-8756-7B0FA1CBC29F}" dt="2024-03-13T07:47:49.110" v="1051"/>
          <ac:spMkLst>
            <pc:docMk/>
            <pc:sldMk cId="2347166945" sldId="2147479413"/>
            <ac:spMk id="18" creationId="{AB01BABA-9397-2CDD-EA20-EE32804D097D}"/>
          </ac:spMkLst>
        </pc:spChg>
        <pc:spChg chg="mod">
          <ac:chgData name="Kees Schonebaum" userId="5017c10b-d38e-460b-8bfb-dc203c964322" providerId="ADAL" clId="{2B3902F8-8C5B-4C4D-8756-7B0FA1CBC29F}" dt="2024-03-13T07:47:49.111" v="1052"/>
          <ac:spMkLst>
            <pc:docMk/>
            <pc:sldMk cId="2347166945" sldId="2147479413"/>
            <ac:spMk id="19" creationId="{7CA72FA7-A969-48C2-DA87-3B1A06A6044B}"/>
          </ac:spMkLst>
        </pc:spChg>
        <pc:spChg chg="mod">
          <ac:chgData name="Kees Schonebaum" userId="5017c10b-d38e-460b-8bfb-dc203c964322" providerId="ADAL" clId="{2B3902F8-8C5B-4C4D-8756-7B0FA1CBC29F}" dt="2024-03-13T07:47:49.111" v="1053"/>
          <ac:spMkLst>
            <pc:docMk/>
            <pc:sldMk cId="2347166945" sldId="2147479413"/>
            <ac:spMk id="20" creationId="{FA245DFC-770C-AEC7-474E-DF299AFD3C1D}"/>
          </ac:spMkLst>
        </pc:spChg>
        <pc:spChg chg="mod">
          <ac:chgData name="Kees Schonebaum" userId="5017c10b-d38e-460b-8bfb-dc203c964322" providerId="ADAL" clId="{2B3902F8-8C5B-4C4D-8756-7B0FA1CBC29F}" dt="2024-03-13T07:47:49.117" v="1080"/>
          <ac:spMkLst>
            <pc:docMk/>
            <pc:sldMk cId="2347166945" sldId="2147479413"/>
            <ac:spMk id="169" creationId="{DE7638C7-FBA3-9000-B9E1-381C68A4A93B}"/>
          </ac:spMkLst>
        </pc:spChg>
        <pc:picChg chg="mod">
          <ac:chgData name="Kees Schonebaum" userId="5017c10b-d38e-460b-8bfb-dc203c964322" providerId="ADAL" clId="{2B3902F8-8C5B-4C4D-8756-7B0FA1CBC29F}" dt="2024-03-13T07:47:49.117" v="1081"/>
          <ac:picMkLst>
            <pc:docMk/>
            <pc:sldMk cId="2347166945" sldId="2147479413"/>
            <ac:picMk id="6" creationId="{9B82476D-0AE5-0B54-2716-B7E7EA064F05}"/>
          </ac:picMkLst>
        </pc:picChg>
        <pc:picChg chg="mod">
          <ac:chgData name="Kees Schonebaum" userId="5017c10b-d38e-460b-8bfb-dc203c964322" providerId="ADAL" clId="{2B3902F8-8C5B-4C4D-8756-7B0FA1CBC29F}" dt="2024-03-13T07:47:49.111" v="1054"/>
          <ac:picMkLst>
            <pc:docMk/>
            <pc:sldMk cId="2347166945" sldId="2147479413"/>
            <ac:picMk id="28" creationId="{DADA4AE6-20EC-1EC8-2391-AA36E3BB73DC}"/>
          </ac:picMkLst>
        </pc:picChg>
        <pc:picChg chg="mod">
          <ac:chgData name="Kees Schonebaum" userId="5017c10b-d38e-460b-8bfb-dc203c964322" providerId="ADAL" clId="{2B3902F8-8C5B-4C4D-8756-7B0FA1CBC29F}" dt="2024-03-13T07:47:49.111" v="1055"/>
          <ac:picMkLst>
            <pc:docMk/>
            <pc:sldMk cId="2347166945" sldId="2147479413"/>
            <ac:picMk id="29" creationId="{6C33A853-E131-5F26-C28D-828F68D972F9}"/>
          </ac:picMkLst>
        </pc:picChg>
        <pc:picChg chg="mod">
          <ac:chgData name="Kees Schonebaum" userId="5017c10b-d38e-460b-8bfb-dc203c964322" providerId="ADAL" clId="{2B3902F8-8C5B-4C4D-8756-7B0FA1CBC29F}" dt="2024-03-13T07:47:49.111" v="1056"/>
          <ac:picMkLst>
            <pc:docMk/>
            <pc:sldMk cId="2347166945" sldId="2147479413"/>
            <ac:picMk id="30" creationId="{38D90C87-7276-DF55-3F18-58A17BD6D32A}"/>
          </ac:picMkLst>
        </pc:picChg>
        <pc:picChg chg="mod">
          <ac:chgData name="Kees Schonebaum" userId="5017c10b-d38e-460b-8bfb-dc203c964322" providerId="ADAL" clId="{2B3902F8-8C5B-4C4D-8756-7B0FA1CBC29F}" dt="2024-03-13T07:47:49.111" v="1057"/>
          <ac:picMkLst>
            <pc:docMk/>
            <pc:sldMk cId="2347166945" sldId="2147479413"/>
            <ac:picMk id="50" creationId="{8B7C1811-615F-1483-BF80-A5CFB550D955}"/>
          </ac:picMkLst>
        </pc:picChg>
        <pc:picChg chg="mod">
          <ac:chgData name="Kees Schonebaum" userId="5017c10b-d38e-460b-8bfb-dc203c964322" providerId="ADAL" clId="{2B3902F8-8C5B-4C4D-8756-7B0FA1CBC29F}" dt="2024-03-13T07:47:49.112" v="1062"/>
          <ac:picMkLst>
            <pc:docMk/>
            <pc:sldMk cId="2347166945" sldId="2147479413"/>
            <ac:picMk id="73" creationId="{6D3D0AE2-14AE-EA3B-D4E0-0AED93310D5F}"/>
          </ac:picMkLst>
        </pc:picChg>
        <pc:picChg chg="mod">
          <ac:chgData name="Kees Schonebaum" userId="5017c10b-d38e-460b-8bfb-dc203c964322" providerId="ADAL" clId="{2B3902F8-8C5B-4C4D-8756-7B0FA1CBC29F}" dt="2024-03-13T07:47:49.112" v="1063"/>
          <ac:picMkLst>
            <pc:docMk/>
            <pc:sldMk cId="2347166945" sldId="2147479413"/>
            <ac:picMk id="74" creationId="{9DBDEA9D-8AC8-CF2B-3EBF-FBE9A06CE4EC}"/>
          </ac:picMkLst>
        </pc:picChg>
        <pc:picChg chg="mod">
          <ac:chgData name="Kees Schonebaum" userId="5017c10b-d38e-460b-8bfb-dc203c964322" providerId="ADAL" clId="{2B3902F8-8C5B-4C4D-8756-7B0FA1CBC29F}" dt="2024-03-13T07:47:49.114" v="1064"/>
          <ac:picMkLst>
            <pc:docMk/>
            <pc:sldMk cId="2347166945" sldId="2147479413"/>
            <ac:picMk id="75" creationId="{486A98D2-7CAD-5455-65A6-7A5858FAB84F}"/>
          </ac:picMkLst>
        </pc:picChg>
        <pc:picChg chg="mod">
          <ac:chgData name="Kees Schonebaum" userId="5017c10b-d38e-460b-8bfb-dc203c964322" providerId="ADAL" clId="{2B3902F8-8C5B-4C4D-8756-7B0FA1CBC29F}" dt="2024-03-13T07:47:49.114" v="1065"/>
          <ac:picMkLst>
            <pc:docMk/>
            <pc:sldMk cId="2347166945" sldId="2147479413"/>
            <ac:picMk id="76" creationId="{9FF42414-D769-57F7-66DB-45463D519217}"/>
          </ac:picMkLst>
        </pc:picChg>
        <pc:picChg chg="mod">
          <ac:chgData name="Kees Schonebaum" userId="5017c10b-d38e-460b-8bfb-dc203c964322" providerId="ADAL" clId="{2B3902F8-8C5B-4C4D-8756-7B0FA1CBC29F}" dt="2024-03-13T07:47:49.115" v="1071"/>
          <ac:picMkLst>
            <pc:docMk/>
            <pc:sldMk cId="2347166945" sldId="2147479413"/>
            <ac:picMk id="144" creationId="{65571CB3-734A-F618-51B2-BD984EB62053}"/>
          </ac:picMkLst>
        </pc:picChg>
        <pc:picChg chg="mod">
          <ac:chgData name="Kees Schonebaum" userId="5017c10b-d38e-460b-8bfb-dc203c964322" providerId="ADAL" clId="{2B3902F8-8C5B-4C4D-8756-7B0FA1CBC29F}" dt="2024-03-13T07:47:49.115" v="1072"/>
          <ac:picMkLst>
            <pc:docMk/>
            <pc:sldMk cId="2347166945" sldId="2147479413"/>
            <ac:picMk id="145" creationId="{365476F3-97F6-2707-D2CC-D10B3FD4FE01}"/>
          </ac:picMkLst>
        </pc:picChg>
        <pc:picChg chg="mod">
          <ac:chgData name="Kees Schonebaum" userId="5017c10b-d38e-460b-8bfb-dc203c964322" providerId="ADAL" clId="{2B3902F8-8C5B-4C4D-8756-7B0FA1CBC29F}" dt="2024-03-13T07:47:49.116" v="1073"/>
          <ac:picMkLst>
            <pc:docMk/>
            <pc:sldMk cId="2347166945" sldId="2147479413"/>
            <ac:picMk id="146" creationId="{D02F86DB-C573-EBDB-AE2D-1D1877360D81}"/>
          </ac:picMkLst>
        </pc:picChg>
        <pc:picChg chg="mod">
          <ac:chgData name="Kees Schonebaum" userId="5017c10b-d38e-460b-8bfb-dc203c964322" providerId="ADAL" clId="{2B3902F8-8C5B-4C4D-8756-7B0FA1CBC29F}" dt="2024-03-13T07:47:49.117" v="1077"/>
          <ac:picMkLst>
            <pc:docMk/>
            <pc:sldMk cId="2347166945" sldId="2147479413"/>
            <ac:picMk id="165" creationId="{6AFB541C-58C0-D5B9-056C-260A4521D47F}"/>
          </ac:picMkLst>
        </pc:picChg>
        <pc:picChg chg="mod">
          <ac:chgData name="Kees Schonebaum" userId="5017c10b-d38e-460b-8bfb-dc203c964322" providerId="ADAL" clId="{2B3902F8-8C5B-4C4D-8756-7B0FA1CBC29F}" dt="2024-03-13T07:47:49.117" v="1078"/>
          <ac:picMkLst>
            <pc:docMk/>
            <pc:sldMk cId="2347166945" sldId="2147479413"/>
            <ac:picMk id="166" creationId="{D2103E28-EC3E-3579-7D00-E40F4B69955A}"/>
          </ac:picMkLst>
        </pc:picChg>
        <pc:picChg chg="mod">
          <ac:chgData name="Kees Schonebaum" userId="5017c10b-d38e-460b-8bfb-dc203c964322" providerId="ADAL" clId="{2B3902F8-8C5B-4C4D-8756-7B0FA1CBC29F}" dt="2024-03-13T07:47:49.117" v="1079"/>
          <ac:picMkLst>
            <pc:docMk/>
            <pc:sldMk cId="2347166945" sldId="2147479413"/>
            <ac:picMk id="168" creationId="{B1E12FD3-799F-84CC-ED88-722D95E8F091}"/>
          </ac:picMkLst>
        </pc:picChg>
        <pc:cxnChg chg="mod">
          <ac:chgData name="Kees Schonebaum" userId="5017c10b-d38e-460b-8bfb-dc203c964322" providerId="ADAL" clId="{2B3902F8-8C5B-4C4D-8756-7B0FA1CBC29F}" dt="2024-03-13T07:47:49.112" v="1058"/>
          <ac:cxnSpMkLst>
            <pc:docMk/>
            <pc:sldMk cId="2347166945" sldId="2147479413"/>
            <ac:cxnSpMk id="52" creationId="{AF5821B6-F7ED-6F09-46FE-C1A868F19DDA}"/>
          </ac:cxnSpMkLst>
        </pc:cxnChg>
        <pc:cxnChg chg="mod">
          <ac:chgData name="Kees Schonebaum" userId="5017c10b-d38e-460b-8bfb-dc203c964322" providerId="ADAL" clId="{2B3902F8-8C5B-4C4D-8756-7B0FA1CBC29F}" dt="2024-03-13T07:47:49.112" v="1059"/>
          <ac:cxnSpMkLst>
            <pc:docMk/>
            <pc:sldMk cId="2347166945" sldId="2147479413"/>
            <ac:cxnSpMk id="55" creationId="{FA85863F-5CEA-A4A9-2F45-7A9BE33A8BA8}"/>
          </ac:cxnSpMkLst>
        </pc:cxnChg>
        <pc:cxnChg chg="mod">
          <ac:chgData name="Kees Schonebaum" userId="5017c10b-d38e-460b-8bfb-dc203c964322" providerId="ADAL" clId="{2B3902F8-8C5B-4C4D-8756-7B0FA1CBC29F}" dt="2024-03-13T07:47:49.112" v="1060"/>
          <ac:cxnSpMkLst>
            <pc:docMk/>
            <pc:sldMk cId="2347166945" sldId="2147479413"/>
            <ac:cxnSpMk id="60" creationId="{7C9C8325-A94C-EE4B-CD17-909C73991BC5}"/>
          </ac:cxnSpMkLst>
        </pc:cxnChg>
        <pc:cxnChg chg="mod">
          <ac:chgData name="Kees Schonebaum" userId="5017c10b-d38e-460b-8bfb-dc203c964322" providerId="ADAL" clId="{2B3902F8-8C5B-4C4D-8756-7B0FA1CBC29F}" dt="2024-03-13T07:47:49.112" v="1061"/>
          <ac:cxnSpMkLst>
            <pc:docMk/>
            <pc:sldMk cId="2347166945" sldId="2147479413"/>
            <ac:cxnSpMk id="63" creationId="{7BB1A720-632B-832F-9739-582AEB1993A1}"/>
          </ac:cxnSpMkLst>
        </pc:cxnChg>
        <pc:cxnChg chg="mod">
          <ac:chgData name="Kees Schonebaum" userId="5017c10b-d38e-460b-8bfb-dc203c964322" providerId="ADAL" clId="{2B3902F8-8C5B-4C4D-8756-7B0FA1CBC29F}" dt="2024-03-13T07:47:49.114" v="1066"/>
          <ac:cxnSpMkLst>
            <pc:docMk/>
            <pc:sldMk cId="2347166945" sldId="2147479413"/>
            <ac:cxnSpMk id="87" creationId="{FA4B5542-B624-9A16-5770-CA19387D617F}"/>
          </ac:cxnSpMkLst>
        </pc:cxnChg>
        <pc:cxnChg chg="mod">
          <ac:chgData name="Kees Schonebaum" userId="5017c10b-d38e-460b-8bfb-dc203c964322" providerId="ADAL" clId="{2B3902F8-8C5B-4C4D-8756-7B0FA1CBC29F}" dt="2024-03-13T07:47:49.114" v="1067"/>
          <ac:cxnSpMkLst>
            <pc:docMk/>
            <pc:sldMk cId="2347166945" sldId="2147479413"/>
            <ac:cxnSpMk id="89" creationId="{7D9C2E16-CEAA-F8CC-BBB7-212626EC62D7}"/>
          </ac:cxnSpMkLst>
        </pc:cxnChg>
        <pc:cxnChg chg="mod">
          <ac:chgData name="Kees Schonebaum" userId="5017c10b-d38e-460b-8bfb-dc203c964322" providerId="ADAL" clId="{2B3902F8-8C5B-4C4D-8756-7B0FA1CBC29F}" dt="2024-03-13T07:47:49.114" v="1068"/>
          <ac:cxnSpMkLst>
            <pc:docMk/>
            <pc:sldMk cId="2347166945" sldId="2147479413"/>
            <ac:cxnSpMk id="103" creationId="{32413FB6-1D8D-2E05-A617-680C1E566CB9}"/>
          </ac:cxnSpMkLst>
        </pc:cxnChg>
        <pc:cxnChg chg="mod">
          <ac:chgData name="Kees Schonebaum" userId="5017c10b-d38e-460b-8bfb-dc203c964322" providerId="ADAL" clId="{2B3902F8-8C5B-4C4D-8756-7B0FA1CBC29F}" dt="2024-03-13T07:47:49.114" v="1069"/>
          <ac:cxnSpMkLst>
            <pc:docMk/>
            <pc:sldMk cId="2347166945" sldId="2147479413"/>
            <ac:cxnSpMk id="107" creationId="{F5C47789-08D0-FB62-1A53-DE1E4FA7C02B}"/>
          </ac:cxnSpMkLst>
        </pc:cxnChg>
        <pc:cxnChg chg="mod">
          <ac:chgData name="Kees Schonebaum" userId="5017c10b-d38e-460b-8bfb-dc203c964322" providerId="ADAL" clId="{2B3902F8-8C5B-4C4D-8756-7B0FA1CBC29F}" dt="2024-03-13T07:47:49.115" v="1070"/>
          <ac:cxnSpMkLst>
            <pc:docMk/>
            <pc:sldMk cId="2347166945" sldId="2147479413"/>
            <ac:cxnSpMk id="108" creationId="{2ECAC856-FFBD-5113-0440-25CAE51B86FD}"/>
          </ac:cxnSpMkLst>
        </pc:cxnChg>
        <pc:cxnChg chg="mod">
          <ac:chgData name="Kees Schonebaum" userId="5017c10b-d38e-460b-8bfb-dc203c964322" providerId="ADAL" clId="{2B3902F8-8C5B-4C4D-8756-7B0FA1CBC29F}" dt="2024-03-13T07:47:49.116" v="1074"/>
          <ac:cxnSpMkLst>
            <pc:docMk/>
            <pc:sldMk cId="2347166945" sldId="2147479413"/>
            <ac:cxnSpMk id="147" creationId="{963A2644-DEB0-6347-BA5D-10C11B6D7CE2}"/>
          </ac:cxnSpMkLst>
        </pc:cxnChg>
        <pc:cxnChg chg="mod">
          <ac:chgData name="Kees Schonebaum" userId="5017c10b-d38e-460b-8bfb-dc203c964322" providerId="ADAL" clId="{2B3902F8-8C5B-4C4D-8756-7B0FA1CBC29F}" dt="2024-03-13T07:47:49.116" v="1075"/>
          <ac:cxnSpMkLst>
            <pc:docMk/>
            <pc:sldMk cId="2347166945" sldId="2147479413"/>
            <ac:cxnSpMk id="150" creationId="{763792A5-D66B-564E-CDB8-99AAD5593A3F}"/>
          </ac:cxnSpMkLst>
        </pc:cxnChg>
        <pc:cxnChg chg="mod">
          <ac:chgData name="Kees Schonebaum" userId="5017c10b-d38e-460b-8bfb-dc203c964322" providerId="ADAL" clId="{2B3902F8-8C5B-4C4D-8756-7B0FA1CBC29F}" dt="2024-03-13T07:47:49.116" v="1076"/>
          <ac:cxnSpMkLst>
            <pc:docMk/>
            <pc:sldMk cId="2347166945" sldId="2147479413"/>
            <ac:cxnSpMk id="153" creationId="{4876D85F-AD08-BDBB-9C83-529BBDFF124D}"/>
          </ac:cxnSpMkLst>
        </pc:cxnChg>
      </pc:sldChg>
      <pc:sldChg chg="modSp">
        <pc:chgData name="Kees Schonebaum" userId="5017c10b-d38e-460b-8bfb-dc203c964322" providerId="ADAL" clId="{2B3902F8-8C5B-4C4D-8756-7B0FA1CBC29F}" dt="2024-03-13T07:47:53.707" v="1153"/>
        <pc:sldMkLst>
          <pc:docMk/>
          <pc:sldMk cId="707698176" sldId="2147479414"/>
        </pc:sldMkLst>
        <pc:spChg chg="mod">
          <ac:chgData name="Kees Schonebaum" userId="5017c10b-d38e-460b-8bfb-dc203c964322" providerId="ADAL" clId="{2B3902F8-8C5B-4C4D-8756-7B0FA1CBC29F}" dt="2024-03-13T07:47:53.706" v="1151"/>
          <ac:spMkLst>
            <pc:docMk/>
            <pc:sldMk cId="707698176" sldId="2147479414"/>
            <ac:spMk id="2" creationId="{FD190FAB-40C5-5553-94E9-EB6930A41EF5}"/>
          </ac:spMkLst>
        </pc:spChg>
        <pc:spChg chg="mod">
          <ac:chgData name="Kees Schonebaum" userId="5017c10b-d38e-460b-8bfb-dc203c964322" providerId="ADAL" clId="{2B3902F8-8C5B-4C4D-8756-7B0FA1CBC29F}" dt="2024-03-13T07:47:53.707" v="1152"/>
          <ac:spMkLst>
            <pc:docMk/>
            <pc:sldMk cId="707698176" sldId="2147479414"/>
            <ac:spMk id="3" creationId="{3DCA5449-9E24-39A2-7FDB-A32F3A604E9C}"/>
          </ac:spMkLst>
        </pc:spChg>
        <pc:picChg chg="mod">
          <ac:chgData name="Kees Schonebaum" userId="5017c10b-d38e-460b-8bfb-dc203c964322" providerId="ADAL" clId="{2B3902F8-8C5B-4C4D-8756-7B0FA1CBC29F}" dt="2024-03-13T07:47:53.707" v="1153"/>
          <ac:picMkLst>
            <pc:docMk/>
            <pc:sldMk cId="707698176" sldId="2147479414"/>
            <ac:picMk id="4" creationId="{C6BED33B-6D0C-657B-DCF8-435C48F079E4}"/>
          </ac:picMkLst>
        </pc:picChg>
      </pc:sldChg>
      <pc:sldChg chg="modSp">
        <pc:chgData name="Kees Schonebaum" userId="5017c10b-d38e-460b-8bfb-dc203c964322" providerId="ADAL" clId="{2B3902F8-8C5B-4C4D-8756-7B0FA1CBC29F}" dt="2024-03-13T07:47:53.060" v="1141"/>
        <pc:sldMkLst>
          <pc:docMk/>
          <pc:sldMk cId="3438798060" sldId="2147479415"/>
        </pc:sldMkLst>
        <pc:spChg chg="mod">
          <ac:chgData name="Kees Schonebaum" userId="5017c10b-d38e-460b-8bfb-dc203c964322" providerId="ADAL" clId="{2B3902F8-8C5B-4C4D-8756-7B0FA1CBC29F}" dt="2024-03-13T07:47:53.059" v="1136"/>
          <ac:spMkLst>
            <pc:docMk/>
            <pc:sldMk cId="3438798060" sldId="2147479415"/>
            <ac:spMk id="3" creationId="{D6CA1E5E-0CB9-4601-87FD-5D0B97A7A46A}"/>
          </ac:spMkLst>
        </pc:spChg>
        <pc:spChg chg="mod">
          <ac:chgData name="Kees Schonebaum" userId="5017c10b-d38e-460b-8bfb-dc203c964322" providerId="ADAL" clId="{2B3902F8-8C5B-4C4D-8756-7B0FA1CBC29F}" dt="2024-03-13T07:47:53.058" v="1135"/>
          <ac:spMkLst>
            <pc:docMk/>
            <pc:sldMk cId="3438798060" sldId="2147479415"/>
            <ac:spMk id="5" creationId="{3A5A9667-392D-4E41-9520-5DC065AA99EB}"/>
          </ac:spMkLst>
        </pc:spChg>
        <pc:grpChg chg="mod">
          <ac:chgData name="Kees Schonebaum" userId="5017c10b-d38e-460b-8bfb-dc203c964322" providerId="ADAL" clId="{2B3902F8-8C5B-4C4D-8756-7B0FA1CBC29F}" dt="2024-03-13T07:47:53.059" v="1137"/>
          <ac:grpSpMkLst>
            <pc:docMk/>
            <pc:sldMk cId="3438798060" sldId="2147479415"/>
            <ac:grpSpMk id="26" creationId="{D7560A28-DA2F-EA23-5073-FF703CCFAB0E}"/>
          </ac:grpSpMkLst>
        </pc:grpChg>
        <pc:grpChg chg="mod">
          <ac:chgData name="Kees Schonebaum" userId="5017c10b-d38e-460b-8bfb-dc203c964322" providerId="ADAL" clId="{2B3902F8-8C5B-4C4D-8756-7B0FA1CBC29F}" dt="2024-03-13T07:47:53.060" v="1138"/>
          <ac:grpSpMkLst>
            <pc:docMk/>
            <pc:sldMk cId="3438798060" sldId="2147479415"/>
            <ac:grpSpMk id="31" creationId="{15F23352-F89D-EF6C-D3FE-90E07A017506}"/>
          </ac:grpSpMkLst>
        </pc:grpChg>
        <pc:grpChg chg="mod">
          <ac:chgData name="Kees Schonebaum" userId="5017c10b-d38e-460b-8bfb-dc203c964322" providerId="ADAL" clId="{2B3902F8-8C5B-4C4D-8756-7B0FA1CBC29F}" dt="2024-03-13T07:47:53.060" v="1139"/>
          <ac:grpSpMkLst>
            <pc:docMk/>
            <pc:sldMk cId="3438798060" sldId="2147479415"/>
            <ac:grpSpMk id="36" creationId="{A0177E2F-ABA6-FF80-8072-8C279C3B8F12}"/>
          </ac:grpSpMkLst>
        </pc:grpChg>
        <pc:grpChg chg="mod">
          <ac:chgData name="Kees Schonebaum" userId="5017c10b-d38e-460b-8bfb-dc203c964322" providerId="ADAL" clId="{2B3902F8-8C5B-4C4D-8756-7B0FA1CBC29F}" dt="2024-03-13T07:47:53.060" v="1140"/>
          <ac:grpSpMkLst>
            <pc:docMk/>
            <pc:sldMk cId="3438798060" sldId="2147479415"/>
            <ac:grpSpMk id="41" creationId="{5CA3B29F-202F-1D52-0334-5B8DD13CBE6D}"/>
          </ac:grpSpMkLst>
        </pc:grpChg>
        <pc:grpChg chg="mod">
          <ac:chgData name="Kees Schonebaum" userId="5017c10b-d38e-460b-8bfb-dc203c964322" providerId="ADAL" clId="{2B3902F8-8C5B-4C4D-8756-7B0FA1CBC29F}" dt="2024-03-13T07:47:53.060" v="1141"/>
          <ac:grpSpMkLst>
            <pc:docMk/>
            <pc:sldMk cId="3438798060" sldId="2147479415"/>
            <ac:grpSpMk id="46" creationId="{AD5AC5C2-8BD2-3A9D-636D-A76BCE2AF828}"/>
          </ac:grpSpMkLst>
        </pc:grpChg>
        <pc:graphicFrameChg chg="mod">
          <ac:chgData name="Kees Schonebaum" userId="5017c10b-d38e-460b-8bfb-dc203c964322" providerId="ADAL" clId="{2B3902F8-8C5B-4C4D-8756-7B0FA1CBC29F}" dt="2024-03-13T07:47:53.058" v="1134"/>
          <ac:graphicFrameMkLst>
            <pc:docMk/>
            <pc:sldMk cId="3438798060" sldId="2147479415"/>
            <ac:graphicFrameMk id="7" creationId="{461CB5C0-D1D1-4CCC-BDBC-8F2EFAF58973}"/>
          </ac:graphicFrameMkLst>
        </pc:graphicFrameChg>
      </pc:sldChg>
      <pc:sldChg chg="modSp modNotesTx">
        <pc:chgData name="Kees Schonebaum" userId="5017c10b-d38e-460b-8bfb-dc203c964322" providerId="ADAL" clId="{2B3902F8-8C5B-4C4D-8756-7B0FA1CBC29F}" dt="2024-03-13T07:47:52.739" v="1133"/>
        <pc:sldMkLst>
          <pc:docMk/>
          <pc:sldMk cId="4205389285" sldId="2147479416"/>
        </pc:sldMkLst>
        <pc:spChg chg="mod">
          <ac:chgData name="Kees Schonebaum" userId="5017c10b-d38e-460b-8bfb-dc203c964322" providerId="ADAL" clId="{2B3902F8-8C5B-4C4D-8756-7B0FA1CBC29F}" dt="2024-03-13T07:47:52.738" v="1126"/>
          <ac:spMkLst>
            <pc:docMk/>
            <pc:sldMk cId="4205389285" sldId="2147479416"/>
            <ac:spMk id="2" creationId="{DB6B2BDD-0AD8-581C-2F77-D2BB080770F3}"/>
          </ac:spMkLst>
        </pc:spChg>
        <pc:spChg chg="mod">
          <ac:chgData name="Kees Schonebaum" userId="5017c10b-d38e-460b-8bfb-dc203c964322" providerId="ADAL" clId="{2B3902F8-8C5B-4C4D-8756-7B0FA1CBC29F}" dt="2024-03-13T07:47:52.738" v="1127"/>
          <ac:spMkLst>
            <pc:docMk/>
            <pc:sldMk cId="4205389285" sldId="2147479416"/>
            <ac:spMk id="3" creationId="{BAB608D4-1763-8F43-A162-4AC0360EDA35}"/>
          </ac:spMkLst>
        </pc:spChg>
        <pc:spChg chg="mod">
          <ac:chgData name="Kees Schonebaum" userId="5017c10b-d38e-460b-8bfb-dc203c964322" providerId="ADAL" clId="{2B3902F8-8C5B-4C4D-8756-7B0FA1CBC29F}" dt="2024-03-13T07:47:52.738" v="1128"/>
          <ac:spMkLst>
            <pc:docMk/>
            <pc:sldMk cId="4205389285" sldId="2147479416"/>
            <ac:spMk id="4" creationId="{2075AAA1-3B50-0511-1925-0D97437B0103}"/>
          </ac:spMkLst>
        </pc:spChg>
        <pc:spChg chg="mod">
          <ac:chgData name="Kees Schonebaum" userId="5017c10b-d38e-460b-8bfb-dc203c964322" providerId="ADAL" clId="{2B3902F8-8C5B-4C4D-8756-7B0FA1CBC29F}" dt="2024-03-13T07:47:52.738" v="1129"/>
          <ac:spMkLst>
            <pc:docMk/>
            <pc:sldMk cId="4205389285" sldId="2147479416"/>
            <ac:spMk id="5" creationId="{29BF49A9-6B73-CE89-CEF0-445597A47C71}"/>
          </ac:spMkLst>
        </pc:spChg>
        <pc:spChg chg="mod">
          <ac:chgData name="Kees Schonebaum" userId="5017c10b-d38e-460b-8bfb-dc203c964322" providerId="ADAL" clId="{2B3902F8-8C5B-4C4D-8756-7B0FA1CBC29F}" dt="2024-03-13T07:47:52.739" v="1130"/>
          <ac:spMkLst>
            <pc:docMk/>
            <pc:sldMk cId="4205389285" sldId="2147479416"/>
            <ac:spMk id="6" creationId="{6586332F-806D-C438-84F1-5BD9E9726B60}"/>
          </ac:spMkLst>
        </pc:spChg>
        <pc:picChg chg="mod">
          <ac:chgData name="Kees Schonebaum" userId="5017c10b-d38e-460b-8bfb-dc203c964322" providerId="ADAL" clId="{2B3902F8-8C5B-4C4D-8756-7B0FA1CBC29F}" dt="2024-03-13T07:47:52.739" v="1133"/>
          <ac:picMkLst>
            <pc:docMk/>
            <pc:sldMk cId="4205389285" sldId="2147479416"/>
            <ac:picMk id="7" creationId="{F63F64DE-3CC8-6380-952B-CC86DD1D71DE}"/>
          </ac:picMkLst>
        </pc:picChg>
        <pc:picChg chg="mod">
          <ac:chgData name="Kees Schonebaum" userId="5017c10b-d38e-460b-8bfb-dc203c964322" providerId="ADAL" clId="{2B3902F8-8C5B-4C4D-8756-7B0FA1CBC29F}" dt="2024-03-13T07:47:52.739" v="1131"/>
          <ac:picMkLst>
            <pc:docMk/>
            <pc:sldMk cId="4205389285" sldId="2147479416"/>
            <ac:picMk id="8" creationId="{B014FAD1-F79C-F160-88CB-F18916CC930F}"/>
          </ac:picMkLst>
        </pc:picChg>
        <pc:picChg chg="mod">
          <ac:chgData name="Kees Schonebaum" userId="5017c10b-d38e-460b-8bfb-dc203c964322" providerId="ADAL" clId="{2B3902F8-8C5B-4C4D-8756-7B0FA1CBC29F}" dt="2024-03-13T07:47:52.739" v="1132"/>
          <ac:picMkLst>
            <pc:docMk/>
            <pc:sldMk cId="4205389285" sldId="2147479416"/>
            <ac:picMk id="9" creationId="{C1EC7EF3-D612-E882-4AC7-A321F6764DE0}"/>
          </ac:picMkLst>
        </pc:picChg>
      </pc:sldChg>
      <pc:sldChg chg="del">
        <pc:chgData name="Kees Schonebaum" userId="5017c10b-d38e-460b-8bfb-dc203c964322" providerId="ADAL" clId="{2B3902F8-8C5B-4C4D-8756-7B0FA1CBC29F}" dt="2024-03-13T07:47:35.313" v="649" actId="47"/>
        <pc:sldMkLst>
          <pc:docMk/>
          <pc:sldMk cId="1287504931" sldId="2147479417"/>
        </pc:sldMkLst>
      </pc:sldChg>
      <pc:sldChg chg="modSp modNotesTx">
        <pc:chgData name="Kees Schonebaum" userId="5017c10b-d38e-460b-8bfb-dc203c964322" providerId="ADAL" clId="{2B3902F8-8C5B-4C4D-8756-7B0FA1CBC29F}" dt="2024-03-13T07:47:42.219" v="758" actId="5793"/>
        <pc:sldMkLst>
          <pc:docMk/>
          <pc:sldMk cId="1574352093" sldId="2147479418"/>
        </pc:sldMkLst>
        <pc:spChg chg="mod">
          <ac:chgData name="Kees Schonebaum" userId="5017c10b-d38e-460b-8bfb-dc203c964322" providerId="ADAL" clId="{2B3902F8-8C5B-4C4D-8756-7B0FA1CBC29F}" dt="2024-03-13T07:47:41.449" v="756"/>
          <ac:spMkLst>
            <pc:docMk/>
            <pc:sldMk cId="1574352093" sldId="2147479418"/>
            <ac:spMk id="3" creationId="{0C6F0CEA-E837-82CB-5380-57149263B89D}"/>
          </ac:spMkLst>
        </pc:spChg>
        <pc:spChg chg="mod">
          <ac:chgData name="Kees Schonebaum" userId="5017c10b-d38e-460b-8bfb-dc203c964322" providerId="ADAL" clId="{2B3902F8-8C5B-4C4D-8756-7B0FA1CBC29F}" dt="2024-03-13T07:47:41.447" v="753"/>
          <ac:spMkLst>
            <pc:docMk/>
            <pc:sldMk cId="1574352093" sldId="2147479418"/>
            <ac:spMk id="4" creationId="{5A9F1320-66DA-1E06-152B-76E3931F151A}"/>
          </ac:spMkLst>
        </pc:spChg>
        <pc:spChg chg="mod">
          <ac:chgData name="Kees Schonebaum" userId="5017c10b-d38e-460b-8bfb-dc203c964322" providerId="ADAL" clId="{2B3902F8-8C5B-4C4D-8756-7B0FA1CBC29F}" dt="2024-03-13T07:47:41.448" v="754"/>
          <ac:spMkLst>
            <pc:docMk/>
            <pc:sldMk cId="1574352093" sldId="2147479418"/>
            <ac:spMk id="5" creationId="{9272F675-A637-E33D-E2BD-C67AB063E3AE}"/>
          </ac:spMkLst>
        </pc:spChg>
        <pc:spChg chg="mod">
          <ac:chgData name="Kees Schonebaum" userId="5017c10b-d38e-460b-8bfb-dc203c964322" providerId="ADAL" clId="{2B3902F8-8C5B-4C4D-8756-7B0FA1CBC29F}" dt="2024-03-13T07:47:41.449" v="757"/>
          <ac:spMkLst>
            <pc:docMk/>
            <pc:sldMk cId="1574352093" sldId="2147479418"/>
            <ac:spMk id="6" creationId="{5500AB4E-3969-A793-F22E-0E70CA3DE2C4}"/>
          </ac:spMkLst>
        </pc:spChg>
        <pc:picChg chg="mod">
          <ac:chgData name="Kees Schonebaum" userId="5017c10b-d38e-460b-8bfb-dc203c964322" providerId="ADAL" clId="{2B3902F8-8C5B-4C4D-8756-7B0FA1CBC29F}" dt="2024-03-13T07:47:41.448" v="755"/>
          <ac:picMkLst>
            <pc:docMk/>
            <pc:sldMk cId="1574352093" sldId="2147479418"/>
            <ac:picMk id="2" creationId="{EBA2C66F-5D1E-03F8-DD96-F8CBCBFCF44C}"/>
          </ac:picMkLst>
        </pc:picChg>
      </pc:sldChg>
      <pc:sldChg chg="modSp">
        <pc:chgData name="Kees Schonebaum" userId="5017c10b-d38e-460b-8bfb-dc203c964322" providerId="ADAL" clId="{2B3902F8-8C5B-4C4D-8756-7B0FA1CBC29F}" dt="2024-03-13T07:47:39.421" v="740"/>
        <pc:sldMkLst>
          <pc:docMk/>
          <pc:sldMk cId="2877161917" sldId="2147479419"/>
        </pc:sldMkLst>
        <pc:spChg chg="mod">
          <ac:chgData name="Kees Schonebaum" userId="5017c10b-d38e-460b-8bfb-dc203c964322" providerId="ADAL" clId="{2B3902F8-8C5B-4C4D-8756-7B0FA1CBC29F}" dt="2024-03-13T07:47:39.420" v="736"/>
          <ac:spMkLst>
            <pc:docMk/>
            <pc:sldMk cId="2877161917" sldId="2147479419"/>
            <ac:spMk id="4" creationId="{9C90A079-7D5E-1F24-5C00-B213D11FA5A1}"/>
          </ac:spMkLst>
        </pc:spChg>
        <pc:spChg chg="mod">
          <ac:chgData name="Kees Schonebaum" userId="5017c10b-d38e-460b-8bfb-dc203c964322" providerId="ADAL" clId="{2B3902F8-8C5B-4C4D-8756-7B0FA1CBC29F}" dt="2024-03-13T07:47:39.420" v="737"/>
          <ac:spMkLst>
            <pc:docMk/>
            <pc:sldMk cId="2877161917" sldId="2147479419"/>
            <ac:spMk id="5" creationId="{93B8AC7E-A0D4-9BE6-D0BE-5A3E8A780D08}"/>
          </ac:spMkLst>
        </pc:spChg>
        <pc:spChg chg="mod">
          <ac:chgData name="Kees Schonebaum" userId="5017c10b-d38e-460b-8bfb-dc203c964322" providerId="ADAL" clId="{2B3902F8-8C5B-4C4D-8756-7B0FA1CBC29F}" dt="2024-03-13T07:47:39.420" v="738"/>
          <ac:spMkLst>
            <pc:docMk/>
            <pc:sldMk cId="2877161917" sldId="2147479419"/>
            <ac:spMk id="6" creationId="{E5386324-2052-AED6-5FC0-47A202ED320C}"/>
          </ac:spMkLst>
        </pc:spChg>
        <pc:spChg chg="mod">
          <ac:chgData name="Kees Schonebaum" userId="5017c10b-d38e-460b-8bfb-dc203c964322" providerId="ADAL" clId="{2B3902F8-8C5B-4C4D-8756-7B0FA1CBC29F}" dt="2024-03-13T07:47:39.419" v="734"/>
          <ac:spMkLst>
            <pc:docMk/>
            <pc:sldMk cId="2877161917" sldId="2147479419"/>
            <ac:spMk id="7" creationId="{9A71358D-53B2-7BF1-8355-9C6C8A88A095}"/>
          </ac:spMkLst>
        </pc:spChg>
        <pc:spChg chg="mod">
          <ac:chgData name="Kees Schonebaum" userId="5017c10b-d38e-460b-8bfb-dc203c964322" providerId="ADAL" clId="{2B3902F8-8C5B-4C4D-8756-7B0FA1CBC29F}" dt="2024-03-13T07:47:39.420" v="735"/>
          <ac:spMkLst>
            <pc:docMk/>
            <pc:sldMk cId="2877161917" sldId="2147479419"/>
            <ac:spMk id="8" creationId="{16FE0EFF-EBBC-E991-21C8-D4D26157BD61}"/>
          </ac:spMkLst>
        </pc:spChg>
        <pc:picChg chg="mod">
          <ac:chgData name="Kees Schonebaum" userId="5017c10b-d38e-460b-8bfb-dc203c964322" providerId="ADAL" clId="{2B3902F8-8C5B-4C4D-8756-7B0FA1CBC29F}" dt="2024-03-13T07:47:39.421" v="740"/>
          <ac:picMkLst>
            <pc:docMk/>
            <pc:sldMk cId="2877161917" sldId="2147479419"/>
            <ac:picMk id="2" creationId="{923A9021-F49B-5A0B-F908-9D6C051F6E38}"/>
          </ac:picMkLst>
        </pc:picChg>
        <pc:picChg chg="mod">
          <ac:chgData name="Kees Schonebaum" userId="5017c10b-d38e-460b-8bfb-dc203c964322" providerId="ADAL" clId="{2B3902F8-8C5B-4C4D-8756-7B0FA1CBC29F}" dt="2024-03-13T07:47:39.421" v="739"/>
          <ac:picMkLst>
            <pc:docMk/>
            <pc:sldMk cId="2877161917" sldId="2147479419"/>
            <ac:picMk id="9" creationId="{775D0F52-7544-88A4-7210-6B8CD01652E0}"/>
          </ac:picMkLst>
        </pc:picChg>
      </pc:sldChg>
      <pc:sldChg chg="modSp">
        <pc:chgData name="Kees Schonebaum" userId="5017c10b-d38e-460b-8bfb-dc203c964322" providerId="ADAL" clId="{2B3902F8-8C5B-4C4D-8756-7B0FA1CBC29F}" dt="2024-03-13T07:47:39.181" v="733"/>
        <pc:sldMkLst>
          <pc:docMk/>
          <pc:sldMk cId="947091899" sldId="2147479420"/>
        </pc:sldMkLst>
        <pc:spChg chg="mod">
          <ac:chgData name="Kees Schonebaum" userId="5017c10b-d38e-460b-8bfb-dc203c964322" providerId="ADAL" clId="{2B3902F8-8C5B-4C4D-8756-7B0FA1CBC29F}" dt="2024-03-13T07:47:39.179" v="727"/>
          <ac:spMkLst>
            <pc:docMk/>
            <pc:sldMk cId="947091899" sldId="2147479420"/>
            <ac:spMk id="2" creationId="{5BB9BD4D-6C18-D0E4-3188-4F26F539B635}"/>
          </ac:spMkLst>
        </pc:spChg>
        <pc:spChg chg="mod">
          <ac:chgData name="Kees Schonebaum" userId="5017c10b-d38e-460b-8bfb-dc203c964322" providerId="ADAL" clId="{2B3902F8-8C5B-4C4D-8756-7B0FA1CBC29F}" dt="2024-03-13T07:47:39.179" v="728"/>
          <ac:spMkLst>
            <pc:docMk/>
            <pc:sldMk cId="947091899" sldId="2147479420"/>
            <ac:spMk id="3" creationId="{8542F290-9157-7F4E-5004-F2C1DEC33DE4}"/>
          </ac:spMkLst>
        </pc:spChg>
        <pc:spChg chg="mod">
          <ac:chgData name="Kees Schonebaum" userId="5017c10b-d38e-460b-8bfb-dc203c964322" providerId="ADAL" clId="{2B3902F8-8C5B-4C4D-8756-7B0FA1CBC29F}" dt="2024-03-13T07:47:39.180" v="729"/>
          <ac:spMkLst>
            <pc:docMk/>
            <pc:sldMk cId="947091899" sldId="2147479420"/>
            <ac:spMk id="4" creationId="{8E655CF8-45D2-8347-A6B0-DF6C3BDC7029}"/>
          </ac:spMkLst>
        </pc:spChg>
        <pc:spChg chg="mod">
          <ac:chgData name="Kees Schonebaum" userId="5017c10b-d38e-460b-8bfb-dc203c964322" providerId="ADAL" clId="{2B3902F8-8C5B-4C4D-8756-7B0FA1CBC29F}" dt="2024-03-13T07:47:39.180" v="730"/>
          <ac:spMkLst>
            <pc:docMk/>
            <pc:sldMk cId="947091899" sldId="2147479420"/>
            <ac:spMk id="5" creationId="{F2E64CAD-C43C-4D1E-39F3-9CBDAC655E4C}"/>
          </ac:spMkLst>
        </pc:spChg>
        <pc:spChg chg="mod">
          <ac:chgData name="Kees Schonebaum" userId="5017c10b-d38e-460b-8bfb-dc203c964322" providerId="ADAL" clId="{2B3902F8-8C5B-4C4D-8756-7B0FA1CBC29F}" dt="2024-03-13T07:47:39.181" v="731"/>
          <ac:spMkLst>
            <pc:docMk/>
            <pc:sldMk cId="947091899" sldId="2147479420"/>
            <ac:spMk id="6" creationId="{D748DF2D-7040-CBB5-F41E-8A5F56CA4895}"/>
          </ac:spMkLst>
        </pc:spChg>
        <pc:grpChg chg="mod">
          <ac:chgData name="Kees Schonebaum" userId="5017c10b-d38e-460b-8bfb-dc203c964322" providerId="ADAL" clId="{2B3902F8-8C5B-4C4D-8756-7B0FA1CBC29F}" dt="2024-03-13T07:47:39.181" v="732"/>
          <ac:grpSpMkLst>
            <pc:docMk/>
            <pc:sldMk cId="947091899" sldId="2147479420"/>
            <ac:grpSpMk id="29" creationId="{BA2697EF-BB20-B32F-62B4-B77C6A297B6A}"/>
          </ac:grpSpMkLst>
        </pc:grpChg>
        <pc:picChg chg="mod">
          <ac:chgData name="Kees Schonebaum" userId="5017c10b-d38e-460b-8bfb-dc203c964322" providerId="ADAL" clId="{2B3902F8-8C5B-4C4D-8756-7B0FA1CBC29F}" dt="2024-03-13T07:47:39.181" v="733"/>
          <ac:picMkLst>
            <pc:docMk/>
            <pc:sldMk cId="947091899" sldId="2147479420"/>
            <ac:picMk id="15" creationId="{9CCAD3C5-09E1-E28C-F1FE-BACED563B8EB}"/>
          </ac:picMkLst>
        </pc:picChg>
      </pc:sldChg>
      <pc:sldChg chg="modSp">
        <pc:chgData name="Kees Schonebaum" userId="5017c10b-d38e-460b-8bfb-dc203c964322" providerId="ADAL" clId="{2B3902F8-8C5B-4C4D-8756-7B0FA1CBC29F}" dt="2024-03-13T07:47:38.940" v="726"/>
        <pc:sldMkLst>
          <pc:docMk/>
          <pc:sldMk cId="1926293135" sldId="2147479421"/>
        </pc:sldMkLst>
        <pc:spChg chg="mod">
          <ac:chgData name="Kees Schonebaum" userId="5017c10b-d38e-460b-8bfb-dc203c964322" providerId="ADAL" clId="{2B3902F8-8C5B-4C4D-8756-7B0FA1CBC29F}" dt="2024-03-13T07:47:38.939" v="721"/>
          <ac:spMkLst>
            <pc:docMk/>
            <pc:sldMk cId="1926293135" sldId="2147479421"/>
            <ac:spMk id="2" creationId="{9D8D9E91-1DB0-7DD1-C17C-B78B9BFBB950}"/>
          </ac:spMkLst>
        </pc:spChg>
        <pc:spChg chg="mod">
          <ac:chgData name="Kees Schonebaum" userId="5017c10b-d38e-460b-8bfb-dc203c964322" providerId="ADAL" clId="{2B3902F8-8C5B-4C4D-8756-7B0FA1CBC29F}" dt="2024-03-13T07:47:38.939" v="722"/>
          <ac:spMkLst>
            <pc:docMk/>
            <pc:sldMk cId="1926293135" sldId="2147479421"/>
            <ac:spMk id="3" creationId="{C2C9BEB0-DC0D-422F-332D-87B15FB375B7}"/>
          </ac:spMkLst>
        </pc:spChg>
        <pc:spChg chg="mod">
          <ac:chgData name="Kees Schonebaum" userId="5017c10b-d38e-460b-8bfb-dc203c964322" providerId="ADAL" clId="{2B3902F8-8C5B-4C4D-8756-7B0FA1CBC29F}" dt="2024-03-13T07:47:38.939" v="723"/>
          <ac:spMkLst>
            <pc:docMk/>
            <pc:sldMk cId="1926293135" sldId="2147479421"/>
            <ac:spMk id="4" creationId="{C2509C7B-2E6E-C84E-B140-19304820E7C7}"/>
          </ac:spMkLst>
        </pc:spChg>
        <pc:spChg chg="mod">
          <ac:chgData name="Kees Schonebaum" userId="5017c10b-d38e-460b-8bfb-dc203c964322" providerId="ADAL" clId="{2B3902F8-8C5B-4C4D-8756-7B0FA1CBC29F}" dt="2024-03-13T07:47:38.939" v="724"/>
          <ac:spMkLst>
            <pc:docMk/>
            <pc:sldMk cId="1926293135" sldId="2147479421"/>
            <ac:spMk id="5" creationId="{2D666FC3-E17C-1CAA-11A0-B027C5BF952D}"/>
          </ac:spMkLst>
        </pc:spChg>
        <pc:spChg chg="mod">
          <ac:chgData name="Kees Schonebaum" userId="5017c10b-d38e-460b-8bfb-dc203c964322" providerId="ADAL" clId="{2B3902F8-8C5B-4C4D-8756-7B0FA1CBC29F}" dt="2024-03-13T07:47:38.940" v="725"/>
          <ac:spMkLst>
            <pc:docMk/>
            <pc:sldMk cId="1926293135" sldId="2147479421"/>
            <ac:spMk id="6" creationId="{D5F06F1C-BF8A-867C-27DB-2D9669A83CF9}"/>
          </ac:spMkLst>
        </pc:spChg>
        <pc:picChg chg="mod">
          <ac:chgData name="Kees Schonebaum" userId="5017c10b-d38e-460b-8bfb-dc203c964322" providerId="ADAL" clId="{2B3902F8-8C5B-4C4D-8756-7B0FA1CBC29F}" dt="2024-03-13T07:47:38.940" v="726"/>
          <ac:picMkLst>
            <pc:docMk/>
            <pc:sldMk cId="1926293135" sldId="2147479421"/>
            <ac:picMk id="7" creationId="{B7064470-7499-6106-A512-192D952B63E8}"/>
          </ac:picMkLst>
        </pc:picChg>
      </pc:sldChg>
      <pc:sldChg chg="modSp modNotesTx">
        <pc:chgData name="Kees Schonebaum" userId="5017c10b-d38e-460b-8bfb-dc203c964322" providerId="ADAL" clId="{2B3902F8-8C5B-4C4D-8756-7B0FA1CBC29F}" dt="2024-03-13T07:47:38.153" v="705"/>
        <pc:sldMkLst>
          <pc:docMk/>
          <pc:sldMk cId="1948724000" sldId="2147479426"/>
        </pc:sldMkLst>
        <pc:spChg chg="mod">
          <ac:chgData name="Kees Schonebaum" userId="5017c10b-d38e-460b-8bfb-dc203c964322" providerId="ADAL" clId="{2B3902F8-8C5B-4C4D-8756-7B0FA1CBC29F}" dt="2024-03-13T07:47:38.153" v="700"/>
          <ac:spMkLst>
            <pc:docMk/>
            <pc:sldMk cId="1948724000" sldId="2147479426"/>
            <ac:spMk id="2" creationId="{6FDD9BB6-6445-EC1E-C228-65B24EAA0F4E}"/>
          </ac:spMkLst>
        </pc:spChg>
        <pc:spChg chg="mod">
          <ac:chgData name="Kees Schonebaum" userId="5017c10b-d38e-460b-8bfb-dc203c964322" providerId="ADAL" clId="{2B3902F8-8C5B-4C4D-8756-7B0FA1CBC29F}" dt="2024-03-13T07:47:38.153" v="701"/>
          <ac:spMkLst>
            <pc:docMk/>
            <pc:sldMk cId="1948724000" sldId="2147479426"/>
            <ac:spMk id="3" creationId="{EF17A2B9-2460-4A6E-13FE-6FEF0D280DEE}"/>
          </ac:spMkLst>
        </pc:spChg>
        <pc:spChg chg="mod">
          <ac:chgData name="Kees Schonebaum" userId="5017c10b-d38e-460b-8bfb-dc203c964322" providerId="ADAL" clId="{2B3902F8-8C5B-4C4D-8756-7B0FA1CBC29F}" dt="2024-03-13T07:47:38.153" v="702"/>
          <ac:spMkLst>
            <pc:docMk/>
            <pc:sldMk cId="1948724000" sldId="2147479426"/>
            <ac:spMk id="4" creationId="{AD2CAA59-AFE7-89CA-AC3E-19F8C9CB074B}"/>
          </ac:spMkLst>
        </pc:spChg>
        <pc:spChg chg="mod">
          <ac:chgData name="Kees Schonebaum" userId="5017c10b-d38e-460b-8bfb-dc203c964322" providerId="ADAL" clId="{2B3902F8-8C5B-4C4D-8756-7B0FA1CBC29F}" dt="2024-03-13T07:47:38.153" v="703"/>
          <ac:spMkLst>
            <pc:docMk/>
            <pc:sldMk cId="1948724000" sldId="2147479426"/>
            <ac:spMk id="5" creationId="{5C977313-B9D0-9FE2-05D1-75FAF32DE3CE}"/>
          </ac:spMkLst>
        </pc:spChg>
        <pc:spChg chg="mod">
          <ac:chgData name="Kees Schonebaum" userId="5017c10b-d38e-460b-8bfb-dc203c964322" providerId="ADAL" clId="{2B3902F8-8C5B-4C4D-8756-7B0FA1CBC29F}" dt="2024-03-13T07:47:38.153" v="704"/>
          <ac:spMkLst>
            <pc:docMk/>
            <pc:sldMk cId="1948724000" sldId="2147479426"/>
            <ac:spMk id="6" creationId="{7039489E-102B-BD04-91C8-0483FD75AAAD}"/>
          </ac:spMkLst>
        </pc:spChg>
        <pc:picChg chg="mod">
          <ac:chgData name="Kees Schonebaum" userId="5017c10b-d38e-460b-8bfb-dc203c964322" providerId="ADAL" clId="{2B3902F8-8C5B-4C4D-8756-7B0FA1CBC29F}" dt="2024-03-13T07:47:38.153" v="705"/>
          <ac:picMkLst>
            <pc:docMk/>
            <pc:sldMk cId="1948724000" sldId="2147479426"/>
            <ac:picMk id="7" creationId="{C7B798D3-842B-A538-FFAF-B084E80E29AA}"/>
          </ac:picMkLst>
        </pc:picChg>
      </pc:sldChg>
      <pc:sldChg chg="modSp">
        <pc:chgData name="Kees Schonebaum" userId="5017c10b-d38e-460b-8bfb-dc203c964322" providerId="ADAL" clId="{2B3902F8-8C5B-4C4D-8756-7B0FA1CBC29F}" dt="2024-03-13T07:47:30.870" v="643"/>
        <pc:sldMkLst>
          <pc:docMk/>
          <pc:sldMk cId="999225976" sldId="2147479427"/>
        </pc:sldMkLst>
        <pc:spChg chg="mod">
          <ac:chgData name="Kees Schonebaum" userId="5017c10b-d38e-460b-8bfb-dc203c964322" providerId="ADAL" clId="{2B3902F8-8C5B-4C4D-8756-7B0FA1CBC29F}" dt="2024-03-13T07:47:30.870" v="642"/>
          <ac:spMkLst>
            <pc:docMk/>
            <pc:sldMk cId="999225976" sldId="2147479427"/>
            <ac:spMk id="2" creationId="{00000000-0000-0000-0000-000000000000}"/>
          </ac:spMkLst>
        </pc:spChg>
        <pc:picChg chg="mod">
          <ac:chgData name="Kees Schonebaum" userId="5017c10b-d38e-460b-8bfb-dc203c964322" providerId="ADAL" clId="{2B3902F8-8C5B-4C4D-8756-7B0FA1CBC29F}" dt="2024-03-13T07:47:30.870" v="643"/>
          <ac:picMkLst>
            <pc:docMk/>
            <pc:sldMk cId="999225976" sldId="2147479427"/>
            <ac:picMk id="3" creationId="{0EA440FF-3650-0D57-61FF-D4D6837829D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3/03/2024</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3/03/2024</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xfrm>
            <a:off x="2700338" y="509588"/>
            <a:ext cx="45307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en-US" dirty="0"/>
              <a:t>Klik om tekst toe te voege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31007661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872662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1</a:t>
            </a:fld>
            <a:endParaRPr lang="en-GB" dirty="0"/>
          </a:p>
        </p:txBody>
      </p:sp>
      <p:sp>
        <p:nvSpPr>
          <p:cNvPr id="5" name="Header Placeholder 4">
            <a:extLst>
              <a:ext uri="{FF2B5EF4-FFF2-40B4-BE49-F238E27FC236}">
                <a16:creationId xmlns:a16="http://schemas.microsoft.com/office/drawing/2014/main" id="{5DAACDE8-4FF7-4D73-9F18-851649C81DB4}"/>
              </a:ext>
            </a:extLst>
          </p:cNvPr>
          <p:cNvSpPr>
            <a:spLocks noGrp="1"/>
          </p:cNvSpPr>
          <p:nvPr>
            <p:ph type="hdr" sz="quarter"/>
          </p:nvPr>
        </p:nvSpPr>
        <p:spPr/>
        <p:txBody>
          <a:bodyPr/>
          <a:lstStyle/>
          <a:p>
            <a:r>
              <a:rPr lang="en-US" dirty="0"/>
              <a:t>EY Global Blockchain Summit 2022</a:t>
            </a:r>
            <a:endParaRPr lang="en-GB" dirty="0"/>
          </a:p>
        </p:txBody>
      </p:sp>
    </p:spTree>
    <p:extLst>
      <p:ext uri="{BB962C8B-B14F-4D97-AF65-F5344CB8AC3E}">
        <p14:creationId xmlns:p14="http://schemas.microsoft.com/office/powerpoint/2010/main" val="3743232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xfrm>
            <a:off x="2700338" y="509588"/>
            <a:ext cx="45307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en-US" dirty="0"/>
              <a:t>Klik om tekst toe te voegen</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6763"/>
            <a:ext cx="6826250" cy="3838575"/>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3264032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6763"/>
            <a:ext cx="6826250" cy="3838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3264032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1537936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3126840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2400509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EYInterstate Light" panose="02000506000000020004" pitchFamily="2" charset="0"/>
            </a:endParaRPr>
          </a:p>
          <a:p>
            <a:endParaRPr lang="nl-N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1500186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l-N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572653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622240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869445-91C4-43CF-9E37-CA206E6349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19266"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860400"/>
          </a:xfrm>
        </p:spPr>
        <p:txBody>
          <a:bodyPr/>
          <a:lstStyle>
            <a:lvl1pPr>
              <a:defRPr sz="2400" b="0" spc="20" baseline="0">
                <a:solidFill>
                  <a:srgbClr val="2E2E38"/>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2941200"/>
            <a:ext cx="4328932" cy="622800"/>
          </a:xfrm>
        </p:spPr>
        <p:txBody>
          <a:bodyPr/>
          <a:lstStyle>
            <a:lvl1pPr marL="0" indent="0" algn="l">
              <a:spcAft>
                <a:spcPts val="1200"/>
              </a:spcAft>
              <a:buNone/>
              <a:defRPr sz="1600" spc="20" baseline="0">
                <a:solidFill>
                  <a:srgbClr val="2E2E38"/>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Text Placeholder 2">
            <a:extLst>
              <a:ext uri="{FF2B5EF4-FFF2-40B4-BE49-F238E27FC236}">
                <a16:creationId xmlns:a16="http://schemas.microsoft.com/office/drawing/2014/main" id="{3FDB63F1-6154-416F-96EB-6610909BEB4B}"/>
              </a:ext>
            </a:extLst>
          </p:cNvPr>
          <p:cNvSpPr>
            <a:spLocks noGrp="1"/>
          </p:cNvSpPr>
          <p:nvPr>
            <p:ph type="body" sz="quarter" idx="10"/>
          </p:nvPr>
        </p:nvSpPr>
        <p:spPr>
          <a:xfrm>
            <a:off x="776288" y="3693600"/>
            <a:ext cx="4327525" cy="360000"/>
          </a:xfrm>
        </p:spPr>
        <p:txBody>
          <a:bodyPr/>
          <a:lstStyle>
            <a:lvl1pPr marL="0" indent="0">
              <a:buNone/>
              <a:defRPr sz="1600" b="1">
                <a:solidFill>
                  <a:srgbClr val="2E2E38"/>
                </a:solidFill>
                <a:latin typeface="EYInterstate" panose="02000503020000020004" pitchFamily="2" charset="0"/>
              </a:defRPr>
            </a:lvl1pPr>
          </a:lstStyle>
          <a:p>
            <a:pPr lvl="0"/>
            <a:r>
              <a:rPr lang="en-US"/>
              <a:t>Click to edit Master text styles</a:t>
            </a:r>
          </a:p>
        </p:txBody>
      </p:sp>
      <p:pic>
        <p:nvPicPr>
          <p:cNvPr id="4" name="Picture 3">
            <a:extLst>
              <a:ext uri="{FF2B5EF4-FFF2-40B4-BE49-F238E27FC236}">
                <a16:creationId xmlns:a16="http://schemas.microsoft.com/office/drawing/2014/main" id="{BB530C33-C54C-4FE8-B516-2ED5E91BA17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spc="20" baseline="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49D58FA9-3C08-4F7B-8630-5CF06347F5BD}" type="datetime3">
              <a:rPr lang="en-US" smtClean="0"/>
              <a:t>13 March 2024</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Smart Contract Analyzer</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7" name="Content Placeholder 2">
            <a:extLst>
              <a:ext uri="{FF2B5EF4-FFF2-40B4-BE49-F238E27FC236}">
                <a16:creationId xmlns:a16="http://schemas.microsoft.com/office/drawing/2014/main" id="{4894E2E1-507D-4487-9B6F-22F6DEA486D6}"/>
              </a:ext>
            </a:extLst>
          </p:cNvPr>
          <p:cNvSpPr>
            <a:spLocks noGrp="1"/>
          </p:cNvSpPr>
          <p:nvPr>
            <p:ph idx="1" hasCustomPrompt="1"/>
          </p:nvPr>
        </p:nvSpPr>
        <p:spPr>
          <a:xfrm>
            <a:off x="609918" y="1137920"/>
            <a:ext cx="10978514" cy="4834800"/>
          </a:xfrm>
        </p:spPr>
        <p:txBody>
          <a:bodyPr/>
          <a:lstStyle>
            <a:lvl1pPr marL="0" indent="0">
              <a:spcBef>
                <a:spcPts val="0"/>
              </a:spcBef>
              <a:buNone/>
              <a:defRPr spc="20" baseline="0">
                <a:solidFill>
                  <a:schemeClr val="bg1"/>
                </a:solidFill>
              </a:defRPr>
            </a:lvl1pPr>
            <a:lvl2pPr marL="0" indent="0">
              <a:spcBef>
                <a:spcPts val="0"/>
              </a:spcBef>
              <a:buNone/>
              <a:defRPr sz="1800" spc="20" baseline="0">
                <a:solidFill>
                  <a:schemeClr val="bg1"/>
                </a:solidFill>
              </a:defRPr>
            </a:lvl2pPr>
            <a:lvl3pPr marL="0" indent="0">
              <a:spcBef>
                <a:spcPts val="0"/>
              </a:spcBef>
              <a:buNone/>
              <a:defRPr sz="1600" spc="20" baseline="0">
                <a:solidFill>
                  <a:schemeClr val="bg1"/>
                </a:solidFill>
              </a:defRPr>
            </a:lvl3pPr>
            <a:lvl4pPr marL="0" indent="0">
              <a:spcBef>
                <a:spcPts val="0"/>
              </a:spcBef>
              <a:buNone/>
              <a:defRPr sz="1400" spc="20" baseline="0">
                <a:solidFill>
                  <a:schemeClr val="bg1"/>
                </a:solidFill>
              </a:defRPr>
            </a:lvl4pPr>
            <a:lvl5pPr marL="0" indent="0">
              <a:spcBef>
                <a:spcPts val="0"/>
              </a:spcBef>
              <a:buNone/>
              <a:defRPr sz="1200" spc="20" baseline="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365547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spc="20" baseline="0">
                <a:solidFill>
                  <a:schemeClr val="bg1"/>
                </a:solidFill>
              </a:defRPr>
            </a:lvl1pPr>
            <a:lvl2pPr marL="356616">
              <a:defRPr spc="20" baseline="0">
                <a:solidFill>
                  <a:schemeClr val="bg1"/>
                </a:solidFill>
              </a:defRPr>
            </a:lvl2pPr>
            <a:lvl3pPr marL="713232">
              <a:defRPr spc="20" baseline="0">
                <a:solidFill>
                  <a:schemeClr val="bg1"/>
                </a:solidFill>
              </a:defRPr>
            </a:lvl3pPr>
            <a:lvl4pPr marL="1069848">
              <a:defRPr spc="20" baseline="0">
                <a:solidFill>
                  <a:schemeClr val="bg1"/>
                </a:solidFill>
              </a:defRPr>
            </a:lvl4pPr>
            <a:lvl5pPr marL="1426464">
              <a:defRPr sz="1200"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5DF901CA-41B3-407E-871E-9A33D1F8D6AC}" type="datetime3">
              <a:rPr lang="en-US" smtClean="0"/>
              <a:t>13 March 2024</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Smart Contract Analyzer</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spc="20" baseline="0">
                <a:solidFill>
                  <a:schemeClr val="bg1"/>
                </a:solidFill>
              </a:defRPr>
            </a:lvl1pPr>
            <a:lvl2pPr>
              <a:defRPr sz="1800" spc="20" baseline="0">
                <a:solidFill>
                  <a:schemeClr val="bg1"/>
                </a:solidFill>
              </a:defRPr>
            </a:lvl2pPr>
            <a:lvl3pPr>
              <a:defRPr sz="1600" spc="20" baseline="0">
                <a:solidFill>
                  <a:schemeClr val="bg1"/>
                </a:solidFill>
              </a:defRPr>
            </a:lvl3pPr>
            <a:lvl4pPr>
              <a:defRPr sz="1400" spc="20" baseline="0">
                <a:solidFill>
                  <a:schemeClr val="bg1"/>
                </a:solidFill>
              </a:defRPr>
            </a:lvl4pPr>
            <a:lvl5pPr>
              <a:defRPr sz="1200" spc="20" baseline="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spc="20" baseline="0">
                <a:solidFill>
                  <a:schemeClr val="bg1"/>
                </a:solidFill>
              </a:defRPr>
            </a:lvl1pPr>
            <a:lvl2pPr>
              <a:defRPr sz="1800" spc="20" baseline="0">
                <a:solidFill>
                  <a:schemeClr val="bg1"/>
                </a:solidFill>
              </a:defRPr>
            </a:lvl2pPr>
            <a:lvl3pPr>
              <a:defRPr sz="1600" spc="20" baseline="0">
                <a:solidFill>
                  <a:schemeClr val="bg1"/>
                </a:solidFill>
              </a:defRPr>
            </a:lvl3pPr>
            <a:lvl4pPr>
              <a:defRPr sz="1400" spc="20" baseline="0">
                <a:solidFill>
                  <a:schemeClr val="bg1"/>
                </a:solidFill>
              </a:defRPr>
            </a:lvl4pPr>
            <a:lvl5pPr>
              <a:defRPr sz="1200" spc="20" baseline="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6D85C7FC-DFC2-4B9B-A3F3-AA478A376EBF}" type="datetime3">
              <a:rPr lang="en-US" smtClean="0"/>
              <a:t>13 March 2024</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Smart Contract Analyzer</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spc="20" baseline="0">
                <a:solidFill>
                  <a:schemeClr val="bg1"/>
                </a:solidFill>
              </a:defRPr>
            </a:lvl1pPr>
            <a:lvl2pPr>
              <a:defRPr sz="1800" spc="20" baseline="0">
                <a:solidFill>
                  <a:schemeClr val="bg1"/>
                </a:solidFill>
              </a:defRPr>
            </a:lvl2pPr>
            <a:lvl3pPr>
              <a:defRPr sz="1600" spc="20" baseline="0">
                <a:solidFill>
                  <a:schemeClr val="bg1"/>
                </a:solidFill>
              </a:defRPr>
            </a:lvl3pPr>
            <a:lvl4pPr>
              <a:defRPr sz="1400" spc="20" baseline="0">
                <a:solidFill>
                  <a:schemeClr val="bg1"/>
                </a:solidFill>
              </a:defRPr>
            </a:lvl4pPr>
            <a:lvl5pPr>
              <a:defRPr sz="1200" spc="20" baseline="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spc="20" baseline="0">
                <a:solidFill>
                  <a:schemeClr val="bg1"/>
                </a:solidFill>
              </a:defRPr>
            </a:lvl1pPr>
            <a:lvl2pPr>
              <a:defRPr sz="1800" spc="20" baseline="0">
                <a:solidFill>
                  <a:schemeClr val="bg1"/>
                </a:solidFill>
              </a:defRPr>
            </a:lvl2pPr>
            <a:lvl3pPr>
              <a:defRPr sz="1600" spc="20" baseline="0">
                <a:solidFill>
                  <a:schemeClr val="bg1"/>
                </a:solidFill>
              </a:defRPr>
            </a:lvl3pPr>
            <a:lvl4pPr>
              <a:defRPr sz="1400" spc="20" baseline="0">
                <a:solidFill>
                  <a:schemeClr val="bg1"/>
                </a:solidFill>
              </a:defRPr>
            </a:lvl4pPr>
            <a:lvl5pPr>
              <a:defRPr sz="1200" spc="20" baseline="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spc="20" baseline="0">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spc="20" baseline="0">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spc="20" baseline="0">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2FE0D3CE-C2BC-4D88-AC34-620B4D9EE1E8}" type="datetime3">
              <a:rPr lang="en-US" smtClean="0"/>
              <a:t>13 March 2024</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Smart Contract Analyzer</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33862922-A192-40E9-8179-34EBF407B128}" type="datetime3">
              <a:rPr lang="en-US" smtClean="0"/>
              <a:t>13 March 2024</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Smart Contract Analyzer</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02954" y="2851522"/>
            <a:ext cx="4447800" cy="1202318"/>
          </a:xfrm>
        </p:spPr>
        <p:txBody>
          <a:bodyPr vert="horz" lIns="0" tIns="0" rIns="0" bIns="0" rtlCol="0" anchor="ctr" anchorCtr="0">
            <a:noAutofit/>
          </a:bodyPr>
          <a:lstStyle>
            <a:lvl1pPr marL="0" indent="0">
              <a:buNone/>
              <a:defRPr kumimoji="0" lang="en-IN" sz="3600" b="0" i="0" u="none" strike="noStrike" cap="none" spc="2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428CE65E-0717-4B73-B271-E8E2B1A6663B}" type="datetime3">
              <a:rPr lang="en-US" smtClean="0"/>
              <a:t>13 March 2024</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Smart Contract Analyzer</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noChangeAspect="1"/>
          </p:cNvSpPr>
          <p:nvPr>
            <p:ph type="pic" sz="quarter" idx="12"/>
          </p:nvPr>
        </p:nvSpPr>
        <p:spPr>
          <a:xfrm>
            <a:off x="6227180" y="0"/>
            <a:ext cx="5971170" cy="6858000"/>
          </a:xfrm>
        </p:spPr>
        <p:txBody>
          <a:bodyPr/>
          <a:lstStyle>
            <a:lvl1pPr marL="0" indent="0">
              <a:buFontTx/>
              <a:buNone/>
              <a:defRPr/>
            </a:lvl1pPr>
          </a:lstStyle>
          <a:p>
            <a:r>
              <a:rPr lang="en-US"/>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3983" y="2578743"/>
            <a:ext cx="4537959" cy="1055708"/>
          </a:xfrm>
        </p:spPr>
        <p:txBody>
          <a:bodyPr/>
          <a:lstStyle>
            <a:lvl1pPr marL="0" indent="0">
              <a:buNone/>
              <a:defRPr sz="3000" spc="20" baseline="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3983" y="3840384"/>
            <a:ext cx="4537959" cy="1055708"/>
          </a:xfrm>
        </p:spPr>
        <p:txBody>
          <a:bodyPr/>
          <a:lstStyle>
            <a:lvl1pPr marL="0" indent="0">
              <a:buNone/>
              <a:defRPr sz="1600" spc="20" baseline="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8567FD44-A668-45C8-B55C-4E4C45BAC31D}" type="datetime3">
              <a:rPr lang="en-US" smtClean="0"/>
              <a:t>13 March 2024</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Smart Contract Analyzer</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049D05B4-C606-428C-9915-FAFA96E2EF21}" type="datetime3">
              <a:rPr lang="en-US" smtClean="0"/>
              <a:t>13 March 2024</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Smart Contract Analyzer</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00" spc="20" baseline="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00" spc="20" baseline="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spc="20" baseline="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spc="20" baseline="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860400"/>
          </a:xfrm>
        </p:spPr>
        <p:txBody>
          <a:bodyPr/>
          <a:lstStyle>
            <a:lvl1pPr>
              <a:defRPr sz="2400" b="0" kern="100" spc="20" baseline="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2942674"/>
            <a:ext cx="4328932" cy="622800"/>
          </a:xfrm>
        </p:spPr>
        <p:txBody>
          <a:bodyPr/>
          <a:lstStyle>
            <a:lvl1pPr marL="0" indent="0" algn="l">
              <a:spcAft>
                <a:spcPts val="1200"/>
              </a:spcAft>
              <a:buNone/>
              <a:defRPr sz="1600" kern="100" spc="20" baseline="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spc="20" baseline="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spc="20" baseline="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spc="20" baseline="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noChangeAspect="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3" name="Text Placeholder 2">
            <a:extLst>
              <a:ext uri="{FF2B5EF4-FFF2-40B4-BE49-F238E27FC236}">
                <a16:creationId xmlns:a16="http://schemas.microsoft.com/office/drawing/2014/main" id="{A2BE0275-3867-4A40-A070-2425D75D1783}"/>
              </a:ext>
            </a:extLst>
          </p:cNvPr>
          <p:cNvSpPr>
            <a:spLocks noGrp="1"/>
          </p:cNvSpPr>
          <p:nvPr>
            <p:ph type="body" sz="quarter" idx="17"/>
          </p:nvPr>
        </p:nvSpPr>
        <p:spPr>
          <a:xfrm>
            <a:off x="776287" y="3693818"/>
            <a:ext cx="4330800" cy="360000"/>
          </a:xfrm>
        </p:spPr>
        <p:txBody>
          <a:bodyPr/>
          <a:lstStyle>
            <a:lvl1pPr marL="0" indent="0">
              <a:buNone/>
              <a:defRPr sz="1600" b="1">
                <a:solidFill>
                  <a:schemeClr val="tx1"/>
                </a:solidFill>
                <a:latin typeface="EYInterstate" panose="02000503020000020004" pitchFamily="2" charset="0"/>
              </a:defRPr>
            </a:lvl1pPr>
          </a:lstStyle>
          <a:p>
            <a:pPr lvl="0"/>
            <a:r>
              <a:rPr lang="en-US"/>
              <a:t>Click to edit Master text styles</a:t>
            </a:r>
          </a:p>
        </p:txBody>
      </p:sp>
      <p:pic>
        <p:nvPicPr>
          <p:cNvPr id="15" name="Picture 14">
            <a:extLst>
              <a:ext uri="{FF2B5EF4-FFF2-40B4-BE49-F238E27FC236}">
                <a16:creationId xmlns:a16="http://schemas.microsoft.com/office/drawing/2014/main" id="{36533E43-3BC6-43DA-85EC-A1F6117E7C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with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1D8D40C8-40A0-4E6A-9C7C-936820DFF76C}" type="datetime3">
              <a:rPr lang="en-US" smtClean="0"/>
              <a:t>13 March 2024</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Smart Contract Analyzer</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50343C74-8071-4D9C-BC37-3ECEB5484661}" type="datetime3">
              <a:rPr lang="en-US" smtClean="0"/>
              <a:t>13 March 2024</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Smart Contract Analyzer</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hasCustomPrompt="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950" kern="100" spc="20" baseline="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p:txBody>
      </p:sp>
    </p:spTree>
    <p:extLst>
      <p:ext uri="{BB962C8B-B14F-4D97-AF65-F5344CB8AC3E}">
        <p14:creationId xmlns:p14="http://schemas.microsoft.com/office/powerpoint/2010/main" val="1282227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860400"/>
          </a:xfrm>
        </p:spPr>
        <p:txBody>
          <a:bodyPr/>
          <a:lstStyle>
            <a:lvl1pPr>
              <a:defRPr sz="2400" b="0" spc="20" baseline="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2941040"/>
            <a:ext cx="4328932" cy="622800"/>
          </a:xfrm>
        </p:spPr>
        <p:txBody>
          <a:bodyPr/>
          <a:lstStyle>
            <a:lvl1pPr marL="0" indent="0" algn="l">
              <a:spcAft>
                <a:spcPts val="1200"/>
              </a:spcAft>
              <a:buNone/>
              <a:defRPr sz="1600" spc="20" baseline="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spc="20" baseline="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spc="20" baseline="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spc="20" baseline="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noChangeAspect="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sp>
        <p:nvSpPr>
          <p:cNvPr id="6" name="Text Placeholder 5">
            <a:extLst>
              <a:ext uri="{FF2B5EF4-FFF2-40B4-BE49-F238E27FC236}">
                <a16:creationId xmlns:a16="http://schemas.microsoft.com/office/drawing/2014/main" id="{C633494C-20E2-42AF-A6D1-A92679FDBF4B}"/>
              </a:ext>
            </a:extLst>
          </p:cNvPr>
          <p:cNvSpPr>
            <a:spLocks noGrp="1"/>
          </p:cNvSpPr>
          <p:nvPr>
            <p:ph type="body" sz="quarter" idx="17"/>
          </p:nvPr>
        </p:nvSpPr>
        <p:spPr>
          <a:xfrm>
            <a:off x="776287" y="3692525"/>
            <a:ext cx="4330800" cy="360000"/>
          </a:xfrm>
        </p:spPr>
        <p:txBody>
          <a:bodyPr/>
          <a:lstStyle>
            <a:lvl1pPr marL="0" indent="0">
              <a:buNone/>
              <a:defRPr sz="1600" b="1">
                <a:solidFill>
                  <a:schemeClr val="bg1"/>
                </a:solidFill>
                <a:latin typeface="EYInterstate" panose="02000503020000020004" pitchFamily="2" charset="0"/>
              </a:defRPr>
            </a:lvl1pPr>
          </a:lstStyle>
          <a:p>
            <a:pPr lvl="0"/>
            <a:endParaRPr lang="nl-NL" dirty="0"/>
          </a:p>
        </p:txBody>
      </p:sp>
      <p:pic>
        <p:nvPicPr>
          <p:cNvPr id="8" name="Picture 7">
            <a:extLst>
              <a:ext uri="{FF2B5EF4-FFF2-40B4-BE49-F238E27FC236}">
                <a16:creationId xmlns:a16="http://schemas.microsoft.com/office/drawing/2014/main" id="{785E6931-3B56-40E4-B0DC-FAB9000DD2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80400" y="5338800"/>
            <a:ext cx="986117" cy="1155600"/>
          </a:xfrm>
          <a:prstGeom prst="rect">
            <a:avLst/>
          </a:prstGeom>
        </p:spPr>
      </p:pic>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400" b="0" baseline="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600" baseline="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pic>
        <p:nvPicPr>
          <p:cNvPr id="9" name="Picture 8">
            <a:extLst>
              <a:ext uri="{FF2B5EF4-FFF2-40B4-BE49-F238E27FC236}">
                <a16:creationId xmlns:a16="http://schemas.microsoft.com/office/drawing/2014/main" id="{A4F3BD47-AA01-4967-9DE3-45B54202A2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80400" y="5338800"/>
            <a:ext cx="986117" cy="1155600"/>
          </a:xfrm>
          <a:prstGeom prst="rect">
            <a:avLst/>
          </a:prstGeom>
        </p:spPr>
      </p:pic>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400" b="0" baseline="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600" baseline="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aseline="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lvl1pPr marL="0" indent="0">
              <a:buFontTx/>
              <a:buNone/>
              <a:defRPr baseline="0"/>
            </a:lvl1p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baseline="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baseline="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noChangeAspect="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baseline="0"/>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p:nvPr>
        </p:nvSpPr>
        <p:spPr>
          <a:xfrm>
            <a:off x="6123008" y="1635009"/>
            <a:ext cx="5465425" cy="1611554"/>
          </a:xfrm>
        </p:spPr>
        <p:txBody>
          <a:bodyPr/>
          <a:lstStyle>
            <a:lvl1pPr marL="0" indent="0">
              <a:buNone/>
              <a:defRPr sz="1600" baseline="0"/>
            </a:lvl1pPr>
          </a:lstStyle>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228354CF-B138-46F9-9628-C917D0BB1E40}" type="datetime3">
              <a:rPr lang="en-US" smtClean="0"/>
              <a:t>13 March 2024</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slide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baseline="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lvl1pPr>
              <a:defRPr baseline="0"/>
            </a:lvl1pPr>
            <a:lvl2pPr>
              <a:defRPr baseline="0"/>
            </a:lvl2pPr>
            <a:lvl3pPr>
              <a:defRPr baseline="0"/>
            </a:lvl3pPr>
            <a:lvl4pPr>
              <a:defRPr baseline="0"/>
            </a:lvl4pPr>
            <a:lvl5pPr>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C02F53D5-8456-47FA-82FD-09E81657A037}" type="datetime3">
              <a:rPr lang="en-US" smtClean="0"/>
              <a:t>13 March 2024</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Smart Contract Analyzer</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Standard slide 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spcBef>
                <a:spcPts val="0"/>
              </a:spcBef>
              <a:buNone/>
              <a:defRPr baseline="0">
                <a:solidFill>
                  <a:schemeClr val="bg1"/>
                </a:solidFill>
              </a:defRPr>
            </a:lvl1pPr>
            <a:lvl2pPr marL="0" indent="0">
              <a:spcBef>
                <a:spcPts val="0"/>
              </a:spcBef>
              <a:buNone/>
              <a:defRPr sz="1800" baseline="0">
                <a:solidFill>
                  <a:schemeClr val="bg1"/>
                </a:solidFill>
              </a:defRPr>
            </a:lvl2pPr>
            <a:lvl3pPr marL="0" indent="0">
              <a:spcBef>
                <a:spcPts val="0"/>
              </a:spcBef>
              <a:buNone/>
              <a:defRPr sz="1600" baseline="0">
                <a:solidFill>
                  <a:schemeClr val="bg1"/>
                </a:solidFill>
              </a:defRPr>
            </a:lvl3pPr>
            <a:lvl4pPr marL="0" indent="0">
              <a:spcBef>
                <a:spcPts val="0"/>
              </a:spcBef>
              <a:buNone/>
              <a:defRPr sz="1400" baseline="0">
                <a:solidFill>
                  <a:schemeClr val="bg1"/>
                </a:solidFill>
              </a:defRPr>
            </a:lvl4pPr>
            <a:lvl5pPr marL="0" indent="0">
              <a:spcBef>
                <a:spcPts val="0"/>
              </a:spcBef>
              <a:buNone/>
              <a:defRPr sz="12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0402C6ED-769A-4FBB-89BD-061C55BA42EA}" type="datetime3">
              <a:rPr lang="en-US" smtClean="0"/>
              <a:t>13 March 2024</a:t>
            </a:fld>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400" b="0" spc="20" baseline="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600" spc="20" baseline="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pic>
        <p:nvPicPr>
          <p:cNvPr id="76" name="Picture 75">
            <a:extLst>
              <a:ext uri="{FF2B5EF4-FFF2-40B4-BE49-F238E27FC236}">
                <a16:creationId xmlns:a16="http://schemas.microsoft.com/office/drawing/2014/main" id="{717D6697-10CB-4FA0-B0D7-749A424EB1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noChangeAspect="1"/>
          </p:cNvSpPr>
          <p:nvPr>
            <p:ph type="pic" sz="quarter" idx="10"/>
          </p:nvPr>
        </p:nvSpPr>
        <p:spPr>
          <a:xfrm>
            <a:off x="0" y="0"/>
            <a:ext cx="2502000" cy="6857999"/>
          </a:xfrm>
        </p:spPr>
        <p:txBody>
          <a:bodyPr/>
          <a:lstStyle>
            <a:lvl1pPr marL="0" indent="0">
              <a:buFontTx/>
              <a:buNone/>
              <a:defRPr/>
            </a:lvl1p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B8F73211-C64F-423B-9CD1-F57382C1E8AD}" type="datetime3">
              <a:rPr lang="en-US" smtClean="0"/>
              <a:t>13 March 2024</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Smart Contract Analyzer</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noChangeAspect="1"/>
          </p:cNvSpPr>
          <p:nvPr>
            <p:ph type="pic" sz="quarter" idx="10"/>
          </p:nvPr>
        </p:nvSpPr>
        <p:spPr>
          <a:xfrm>
            <a:off x="8199120" y="0"/>
            <a:ext cx="3999231" cy="6857999"/>
          </a:xfrm>
        </p:spPr>
        <p:txBody>
          <a:bodyPr/>
          <a:lstStyle>
            <a:lvl1pPr marL="0" indent="0">
              <a:buFontTx/>
              <a:buNone/>
              <a:defRPr/>
            </a:lvl1p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19469"/>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9A470714-7BFF-4F33-A27F-16B319B3C3DB}" type="datetime3">
              <a:rPr lang="en-US" smtClean="0"/>
              <a:t>13 March 2024</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Smart Contract Analyzer</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baseline="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5BE0A758-ADF2-44FE-912C-16971A6DCC4C}" type="datetime3">
              <a:rPr lang="en-US" smtClean="0"/>
              <a:t>13 March 2024</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Smart Contract Analyzer</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
        <p:nvSpPr>
          <p:cNvPr id="7" name="Content Placeholder 6">
            <a:extLst>
              <a:ext uri="{FF2B5EF4-FFF2-40B4-BE49-F238E27FC236}">
                <a16:creationId xmlns:a16="http://schemas.microsoft.com/office/drawing/2014/main" id="{06C88756-00F7-49DB-BDD5-6CF0988193B0}"/>
              </a:ext>
            </a:extLst>
          </p:cNvPr>
          <p:cNvSpPr>
            <a:spLocks noGrp="1"/>
          </p:cNvSpPr>
          <p:nvPr>
            <p:ph sz="quarter" idx="13"/>
          </p:nvPr>
        </p:nvSpPr>
        <p:spPr>
          <a:xfrm>
            <a:off x="608400" y="1137600"/>
            <a:ext cx="10971212" cy="4946400"/>
          </a:xfrm>
        </p:spPr>
        <p:txBody>
          <a:bodyPr/>
          <a:lstStyle>
            <a:lvl1pPr marL="0" indent="0">
              <a:buFontTx/>
              <a:buNone/>
              <a:defRPr/>
            </a:lvl1pPr>
            <a:lvl2pPr marL="356616" indent="0">
              <a:buFontTx/>
              <a:buNone/>
              <a:defRPr/>
            </a:lvl2pPr>
            <a:lvl3pPr marL="713232" indent="0">
              <a:buFontTx/>
              <a:buNone/>
              <a:defRPr/>
            </a:lvl3pPr>
            <a:lvl4pPr marL="1069848" indent="0">
              <a:buFontTx/>
              <a:buNone/>
              <a:defRPr/>
            </a:lvl4pPr>
            <a:lvl5pPr marL="1426464" indent="0">
              <a:buFontTx/>
              <a:buNone/>
              <a:defRPr/>
            </a:lvl5pPr>
          </a:lstStyle>
          <a:p>
            <a:pPr lvl="0"/>
            <a:r>
              <a:rPr lang="en-US" dirty="0"/>
              <a:t>Edit Master text styles</a:t>
            </a:r>
          </a:p>
        </p:txBody>
      </p:sp>
    </p:spTree>
    <p:extLst>
      <p:ext uri="{BB962C8B-B14F-4D97-AF65-F5344CB8AC3E}">
        <p14:creationId xmlns:p14="http://schemas.microsoft.com/office/powerpoint/2010/main" val="35457041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baseline="0">
                <a:solidFill>
                  <a:schemeClr val="bg1"/>
                </a:solidFill>
              </a:defRPr>
            </a:lvl1pPr>
            <a:lvl2pPr marL="356616">
              <a:defRPr baseline="0">
                <a:solidFill>
                  <a:schemeClr val="bg1"/>
                </a:solidFill>
              </a:defRPr>
            </a:lvl2pPr>
            <a:lvl3pPr marL="713232">
              <a:defRPr baseline="0">
                <a:solidFill>
                  <a:schemeClr val="bg1"/>
                </a:solidFill>
              </a:defRPr>
            </a:lvl3pPr>
            <a:lvl4pPr marL="1069848">
              <a:defRPr baseline="0">
                <a:solidFill>
                  <a:schemeClr val="bg1"/>
                </a:solidFill>
              </a:defRPr>
            </a:lvl4pPr>
            <a:lvl5pPr marL="1426464">
              <a:defRPr sz="12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94216D89-A9DB-44C0-8F85-E278751F8C42}" type="datetime3">
              <a:rPr lang="en-US" smtClean="0"/>
              <a:t>13 March 2024</a:t>
            </a:fld>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baseline="0">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baseline="0">
                <a:solidFill>
                  <a:schemeClr val="bg1"/>
                </a:solidFill>
              </a:defRPr>
            </a:lvl1pPr>
            <a:lvl2pPr>
              <a:defRPr sz="1800" baseline="0">
                <a:solidFill>
                  <a:schemeClr val="bg1"/>
                </a:solidFill>
              </a:defRPr>
            </a:lvl2pPr>
            <a:lvl3pPr>
              <a:defRPr sz="1600" baseline="0">
                <a:solidFill>
                  <a:schemeClr val="bg1"/>
                </a:solidFill>
              </a:defRPr>
            </a:lvl3pPr>
            <a:lvl4pPr>
              <a:defRPr sz="1400" baseline="0">
                <a:solidFill>
                  <a:schemeClr val="bg1"/>
                </a:solidFill>
              </a:defRPr>
            </a:lvl4pPr>
            <a:lvl5pPr>
              <a:defRPr sz="1200" baseline="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baseline="0">
                <a:solidFill>
                  <a:schemeClr val="bg1"/>
                </a:solidFill>
              </a:defRPr>
            </a:lvl1pPr>
            <a:lvl2pPr>
              <a:defRPr sz="1800" baseline="0">
                <a:solidFill>
                  <a:schemeClr val="bg1"/>
                </a:solidFill>
              </a:defRPr>
            </a:lvl2pPr>
            <a:lvl3pPr>
              <a:defRPr sz="1600" baseline="0">
                <a:solidFill>
                  <a:schemeClr val="bg1"/>
                </a:solidFill>
              </a:defRPr>
            </a:lvl3pPr>
            <a:lvl4pPr>
              <a:defRPr sz="1400" baseline="0">
                <a:solidFill>
                  <a:schemeClr val="bg1"/>
                </a:solidFill>
              </a:defRPr>
            </a:lvl4pPr>
            <a:lvl5pPr>
              <a:defRPr sz="1200" baseline="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39AF32DD-A64F-4955-851A-32362425BDF2}" type="datetime3">
              <a:rPr lang="en-US" smtClean="0"/>
              <a:t>13 March 2024</a:t>
            </a:fld>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IN"/>
              <a:t>Smart Contract Analyzer</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baseline="0">
                <a:solidFill>
                  <a:schemeClr val="bg1"/>
                </a:solidFill>
              </a:defRPr>
            </a:lvl1pPr>
            <a:lvl2pPr>
              <a:defRPr sz="1800" baseline="0">
                <a:solidFill>
                  <a:schemeClr val="bg1"/>
                </a:solidFill>
              </a:defRPr>
            </a:lvl2pPr>
            <a:lvl3pPr>
              <a:defRPr sz="1600" baseline="0">
                <a:solidFill>
                  <a:schemeClr val="bg1"/>
                </a:solidFill>
              </a:defRPr>
            </a:lvl3pPr>
            <a:lvl4pPr>
              <a:defRPr sz="1400" baseline="0">
                <a:solidFill>
                  <a:schemeClr val="bg1"/>
                </a:solidFill>
              </a:defRPr>
            </a:lvl4pPr>
            <a:lvl5pPr>
              <a:defRPr sz="1200" baseline="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baseline="0">
                <a:solidFill>
                  <a:schemeClr val="bg1"/>
                </a:solidFill>
              </a:defRPr>
            </a:lvl1pPr>
            <a:lvl2pPr>
              <a:defRPr sz="1800" baseline="0">
                <a:solidFill>
                  <a:schemeClr val="bg1"/>
                </a:solidFill>
              </a:defRPr>
            </a:lvl2pPr>
            <a:lvl3pPr>
              <a:defRPr sz="1600" baseline="0">
                <a:solidFill>
                  <a:schemeClr val="bg1"/>
                </a:solidFill>
              </a:defRPr>
            </a:lvl3pPr>
            <a:lvl4pPr>
              <a:defRPr sz="1400" baseline="0">
                <a:solidFill>
                  <a:schemeClr val="bg1"/>
                </a:solidFill>
              </a:defRPr>
            </a:lvl4pPr>
            <a:lvl5pPr>
              <a:defRPr sz="1200" baseline="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baseline="0">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baseline="0">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5569687C-F153-4DD8-9B22-5EC309A63FA2}" type="datetime3">
              <a:rPr lang="en-US" smtClean="0"/>
              <a:t>13 March 2024</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Smart Contract Analyzer</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2A2BF584-F5FD-4FDC-BBA1-6DD1FB0FDD0B}" type="datetime3">
              <a:rPr lang="en-US" smtClean="0"/>
              <a:t>13 March 2024</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Smart Contract Analyzer</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02954" y="2851522"/>
            <a:ext cx="4447800" cy="1202318"/>
          </a:xfrm>
        </p:spPr>
        <p:txBody>
          <a:bodyPr vert="horz" lIns="0" tIns="0" rIns="0" bIns="0" rtlCol="0" anchor="ctr" anchorCtr="0">
            <a:noAutofit/>
          </a:bodyPr>
          <a:lstStyle>
            <a:lvl1pPr marL="0" indent="0">
              <a:buNone/>
              <a:defRPr kumimoji="0" lang="en-IN" sz="3600" b="0" i="0" u="none" strike="noStrike" cap="none" spc="2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BF5FCD46-3808-4FB1-8E2A-14F0F39D07AE}" type="datetime3">
              <a:rPr lang="en-US" smtClean="0"/>
              <a:t>13 March 2024</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Smart Contract Analyzer</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noChangeAspect="1"/>
          </p:cNvSpPr>
          <p:nvPr>
            <p:ph type="pic" sz="quarter" idx="12"/>
          </p:nvPr>
        </p:nvSpPr>
        <p:spPr>
          <a:xfrm>
            <a:off x="6227180" y="0"/>
            <a:ext cx="5971170" cy="6858000"/>
          </a:xfrm>
        </p:spPr>
        <p:txBody>
          <a:bodyPr/>
          <a:lstStyle>
            <a:lvl1pPr marL="0" indent="0">
              <a:buFontTx/>
              <a:buNone/>
              <a:defRPr/>
            </a:lvl1p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02609" y="2578743"/>
            <a:ext cx="4537959" cy="1055708"/>
          </a:xfrm>
        </p:spPr>
        <p:txBody>
          <a:bodyPr/>
          <a:lstStyle>
            <a:lvl1pPr marL="0" indent="0">
              <a:buNone/>
              <a:defRPr sz="3000" baseline="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02609" y="3840384"/>
            <a:ext cx="4537959" cy="1055708"/>
          </a:xfrm>
        </p:spPr>
        <p:txBody>
          <a:bodyPr/>
          <a:lstStyle>
            <a:lvl1pPr marL="0" indent="0">
              <a:buNone/>
              <a:defRPr sz="1600" baseline="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42740E4F-5BFB-4871-84DC-1787F82C4C66}" type="datetime3">
              <a:rPr lang="en-US" smtClean="0"/>
              <a:t>13 March 2024</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Smart Contract Analyzer</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bg1"/>
                </a:solidFill>
              </a:defRPr>
            </a:lvl1pPr>
          </a:lstStyle>
          <a:p>
            <a:fld id="{BA2D1067-F59A-486C-9D58-414B3F14524B}" type="datetime3">
              <a:rPr lang="en-US" smtClean="0"/>
              <a:t>13 March 2024</a:t>
            </a:fld>
            <a:endParaRPr lang="nl-NL"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bg1"/>
                </a:solidFill>
              </a:defRPr>
            </a:lvl1pPr>
          </a:lstStyle>
          <a:p>
            <a:r>
              <a:rPr lang="en-IN"/>
              <a:t>Smart Contract Analyzer</a:t>
            </a:r>
            <a:endParaRPr lang="en-IN" dirty="0"/>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chemeClr val="bg1"/>
                </a:solidFill>
              </a:defRPr>
            </a:lvl1p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400" b="0" spc="20" baseline="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600" spc="20" baseline="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74" name="Picture 73">
            <a:extLst>
              <a:ext uri="{FF2B5EF4-FFF2-40B4-BE49-F238E27FC236}">
                <a16:creationId xmlns:a16="http://schemas.microsoft.com/office/drawing/2014/main" id="{430BB9C7-73A4-44A9-95EE-7B8D3987CF9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baseline="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00" baseline="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00" baseline="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baseline="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baseline="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baseline="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mpty with footer">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CD29DE77-451F-46DF-A1B4-9562D3B2C0F1}" type="datetime3">
              <a:rPr lang="en-US" smtClean="0"/>
              <a:t>13 March 2024</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Smart Contract Analyzer</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5B1BB0E4-9491-4B34-B941-C5D1FFB6FB3B}" type="datetime3">
              <a:rPr lang="en-US" smtClean="0"/>
              <a:t>13 March 2024</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Smart Contract Analyzer</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hasCustomPrompt="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950" kern="100" baseline="0" noProof="0" dirty="0" smtClean="0">
                <a:solidFill>
                  <a:srgbClr val="FFFFFF"/>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rgbClr val="FFFFFF"/>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rgbClr val="FFFFFF"/>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rgbClr val="FFFFFF"/>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rgbClr val="FFFFFF"/>
                </a:solidFill>
                <a:latin typeface="EYInterstate Light" panose="02000506000000020004" pitchFamily="2" charset="0"/>
                <a:ea typeface="+mn-ea"/>
                <a:cs typeface="Arial" pitchFamily="34" charset="0"/>
              </a:defRPr>
            </a:lvl5pPr>
          </a:lstStyle>
          <a:p>
            <a:pPr lvl="0"/>
            <a:r>
              <a:rPr lang="en-US" noProof="0" dirty="0"/>
              <a:t>Click to edit Master text styles</a:t>
            </a:r>
          </a:p>
        </p:txBody>
      </p:sp>
    </p:spTree>
    <p:extLst>
      <p:ext uri="{BB962C8B-B14F-4D97-AF65-F5344CB8AC3E}">
        <p14:creationId xmlns:p14="http://schemas.microsoft.com/office/powerpoint/2010/main" val="1371450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196776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chemeClr val="tx2"/>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8694201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Tree>
    <p:extLst>
      <p:ext uri="{BB962C8B-B14F-4D97-AF65-F5344CB8AC3E}">
        <p14:creationId xmlns:p14="http://schemas.microsoft.com/office/powerpoint/2010/main" val="6838334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19"/>
            <a:ext cx="8238744" cy="4954905"/>
          </a:xfrm>
          <a:prstGeom prst="rect">
            <a:avLst/>
          </a:prstGeom>
        </p:spPr>
        <p:txBody>
          <a:bodyPr vert="horz" lIns="0" tIns="0" rIns="0" bIns="0" rtlCol="0">
            <a:noAutofit/>
          </a:bodyPr>
          <a:lstStyle>
            <a:lvl1pPr>
              <a:defRPr lang="en-US" noProof="0" dirty="0" smtClean="0">
                <a:latin typeface="Arial" panose="020B0604020202020204" pitchFamily="34" charset="0"/>
              </a:defRPr>
            </a:lvl1pPr>
            <a:lvl2pPr>
              <a:defRPr lang="en-US" noProof="0" dirty="0" smtClean="0">
                <a:latin typeface="Arial" panose="020B0604020202020204" pitchFamily="34" charset="0"/>
              </a:defRPr>
            </a:lvl2pPr>
            <a:lvl3pPr>
              <a:defRPr lang="en-US" noProof="0" dirty="0" smtClean="0">
                <a:latin typeface="Arial" panose="020B0604020202020204" pitchFamily="34" charset="0"/>
              </a:defRPr>
            </a:lvl3pPr>
            <a:lvl4pPr>
              <a:defRPr lang="en-US" noProof="0" dirty="0" smtClean="0">
                <a:latin typeface="Arial" panose="020B0604020202020204" pitchFamily="34" charset="0"/>
              </a:defRPr>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961766F-B771-4D13-A34D-355A177A0BF9}" type="datetime1">
              <a:rPr lang="en-US" noProof="0" smtClean="0"/>
              <a:t>3/13/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a:defRPr>
                <a:latin typeface="EYInterstate Light" panose="02000506000000020004" pitchFamily="2" charset="0"/>
              </a:defRPr>
            </a:lvl1pPr>
          </a:lstStyle>
          <a:p>
            <a:r>
              <a:rPr lang="nl-NL" dirty="0"/>
              <a:t>Presentation </a:t>
            </a:r>
            <a:r>
              <a:rPr lang="nl-NL" dirty="0" err="1"/>
              <a:t>title</a:t>
            </a:r>
            <a:endParaRPr lang="nl-NL"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dirty="0">
                <a:latin typeface="EYInterstate Light" panose="02000506000000020004" pitchFamily="2" charset="0"/>
              </a:rPr>
              <a:t>Page </a:t>
            </a:r>
            <a:fld id="{F1BC30E3-FFE5-4B91-AA19-87A149EBB9EE}" type="slidenum">
              <a:rPr lang="en-US" smtClean="0">
                <a:latin typeface="EYInterstate Light" panose="02000506000000020004" pitchFamily="2" charset="0"/>
              </a:rPr>
              <a:pPr/>
              <a:t>‹#›</a:t>
            </a:fld>
            <a:endParaRPr lang="en-US" dirty="0">
              <a:latin typeface="EYInterstate Light" panose="02000506000000020004" pitchFamily="2" charset="0"/>
            </a:endParaRPr>
          </a:p>
        </p:txBody>
      </p:sp>
    </p:spTree>
    <p:extLst>
      <p:ext uri="{BB962C8B-B14F-4D97-AF65-F5344CB8AC3E}">
        <p14:creationId xmlns:p14="http://schemas.microsoft.com/office/powerpoint/2010/main" val="13541832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1"/>
            </p:custDataLst>
            <p:extLst>
              <p:ext uri="{D42A27DB-BD31-4B8C-83A1-F6EECF244321}">
                <p14:modId xmlns:p14="http://schemas.microsoft.com/office/powerpoint/2010/main" val="2604768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42897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pc="20" baseline="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lvl1pPr marL="0" indent="0">
              <a:buFontTx/>
              <a:buNone/>
              <a:defRPr spc="20" baseline="0"/>
            </a:lvl1p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spc="20" baseline="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spc="20" baseline="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noChangeAspect="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spc="20" baseline="0"/>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p:nvPr>
        </p:nvSpPr>
        <p:spPr>
          <a:xfrm>
            <a:off x="6123008" y="1635009"/>
            <a:ext cx="5465425" cy="1611554"/>
          </a:xfrm>
        </p:spPr>
        <p:txBody>
          <a:bodyPr/>
          <a:lstStyle>
            <a:lvl1pPr marL="0" indent="0">
              <a:buNone/>
              <a:defRPr sz="1600" spc="20" baseline="0"/>
            </a:lvl1pPr>
          </a:lstStyle>
          <a:p>
            <a:pPr lvl="0"/>
            <a:r>
              <a:rPr lang="en-US"/>
              <a:t>Click to edit Master text styles</a:t>
            </a:r>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3C5FDB07-F43A-4339-AF8D-586ECEE7EB08}" type="datetime3">
              <a:rPr lang="en-US" smtClean="0"/>
              <a:t>13 March 2024</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Smart Contract Analyzer</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685800"/>
            <a:ext cx="8232157" cy="590400"/>
          </a:xfrm>
        </p:spPr>
        <p:txBody>
          <a:bodyPr/>
          <a:lstStyle>
            <a:lvl1pPr>
              <a:defRPr sz="3600">
                <a:solidFill>
                  <a:schemeClr val="bg1"/>
                </a:solidFill>
              </a:defRPr>
            </a:lvl1pPr>
          </a:lstStyle>
          <a:p>
            <a:r>
              <a:rPr lang="en-US" dirty="0"/>
              <a:t>Click to edit Master title style</a:t>
            </a:r>
            <a:endParaRPr lang="en-GB" dirty="0"/>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714500"/>
            <a:ext cx="10978515" cy="3933824"/>
          </a:xfrm>
          <a:prstGeom prst="rect">
            <a:avLst/>
          </a:prstGeom>
        </p:spPr>
        <p:txBody>
          <a:bodyPr vert="horz" lIns="0" tIns="0" rIns="0" bIns="0" rtlCol="0" anchor="t" anchorCtr="0">
            <a:noAutofit/>
          </a:bodyPr>
          <a:lstStyle>
            <a:lvl1pPr marL="0" indent="0">
              <a:buNone/>
              <a:defRPr sz="2800"/>
            </a:lvl1pPr>
            <a:lvl2pPr marL="228600" indent="-228600">
              <a:defRPr sz="2400"/>
            </a:lvl2pPr>
            <a:lvl3pPr marL="457200" indent="-241300">
              <a:tabLst/>
              <a:defRPr sz="2000"/>
            </a:lvl3pPr>
            <a:lvl4pPr marL="1069848" indent="0">
              <a:buNone/>
              <a:defRPr/>
            </a:lvl4pPr>
          </a:lstStyle>
          <a:p>
            <a:pPr lvl="0"/>
            <a:r>
              <a:rPr lang="en-US" dirty="0"/>
              <a:t>Click to edit Master text styles</a:t>
            </a:r>
          </a:p>
          <a:p>
            <a:pPr lvl="1"/>
            <a:r>
              <a:rPr lang="en-US" dirty="0"/>
              <a:t>Second level</a:t>
            </a:r>
          </a:p>
          <a:p>
            <a:pPr lvl="2"/>
            <a:r>
              <a:rPr lang="en-US" dirty="0"/>
              <a:t>Third level</a:t>
            </a:r>
          </a:p>
        </p:txBody>
      </p:sp>
      <p:sp>
        <p:nvSpPr>
          <p:cNvPr id="9" name="Slide Number Placeholder 5">
            <a:extLst>
              <a:ext uri="{FF2B5EF4-FFF2-40B4-BE49-F238E27FC236}">
                <a16:creationId xmlns:a16="http://schemas.microsoft.com/office/drawing/2014/main" id="{66E07B52-03EA-4AC9-A47E-951E027A8538}"/>
              </a:ext>
            </a:extLst>
          </p:cNvPr>
          <p:cNvSpPr>
            <a:spLocks noGrp="1"/>
          </p:cNvSpPr>
          <p:nvPr>
            <p:ph type="sldNum" sz="quarter" idx="4"/>
          </p:nvPr>
        </p:nvSpPr>
        <p:spPr>
          <a:xfrm>
            <a:off x="617221" y="6471244"/>
            <a:ext cx="663066" cy="180000"/>
          </a:xfrm>
          <a:prstGeom prst="rect">
            <a:avLst/>
          </a:prstGeom>
        </p:spPr>
        <p:txBody>
          <a:bodyPr lIns="0" tIns="0" rIns="0" bIns="0" anchor="ctr" anchorCtr="0"/>
          <a:lstStyle>
            <a:lvl1pPr marL="0" algn="l" defTabSz="914400" rtl="0" eaLnBrk="1" latinLnBrk="0" hangingPunct="1">
              <a:defRPr lang="en-GB" sz="800" kern="1200" smtClean="0">
                <a:solidFill>
                  <a:srgbClr val="808080"/>
                </a:solidFill>
                <a:latin typeface="EYInterstate" panose="02000503020000020004" pitchFamily="2" charset="0"/>
                <a:ea typeface="+mn-ea"/>
                <a:cs typeface="+mn-cs"/>
              </a:defRPr>
            </a:lvl1pPr>
          </a:lstStyle>
          <a:p>
            <a:r>
              <a:rPr lang="en-IN"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8750610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3986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60688" y="1396801"/>
            <a:ext cx="7876975" cy="1470025"/>
          </a:xfrm>
        </p:spPr>
        <p:txBody>
          <a:bodyPr>
            <a:noAutofit/>
          </a:bodyPr>
          <a:lstStyle>
            <a:lvl1pPr>
              <a:defRPr sz="3733" b="1" baseline="0">
                <a:solidFill>
                  <a:srgbClr val="444444"/>
                </a:solidFill>
                <a:latin typeface="Lucida Sans" panose="020B0602030504020204" pitchFamily="34" charset="0"/>
                <a:ea typeface="Verdana" pitchFamily="34" charset="0"/>
                <a:cs typeface="Verdana" pitchFamily="34" charset="0"/>
              </a:defRPr>
            </a:lvl1pPr>
          </a:lstStyle>
          <a:p>
            <a:r>
              <a:rPr lang="nl-NL" dirty="0"/>
              <a:t>Klik om de stijl te bewerken</a:t>
            </a:r>
          </a:p>
        </p:txBody>
      </p:sp>
      <p:sp>
        <p:nvSpPr>
          <p:cNvPr id="3" name="Subtitle 2"/>
          <p:cNvSpPr>
            <a:spLocks noGrp="1"/>
          </p:cNvSpPr>
          <p:nvPr>
            <p:ph type="subTitle" idx="1"/>
          </p:nvPr>
        </p:nvSpPr>
        <p:spPr>
          <a:xfrm>
            <a:off x="2160688" y="2955600"/>
            <a:ext cx="7876975" cy="1486800"/>
          </a:xfrm>
        </p:spPr>
        <p:txBody>
          <a:bodyPr>
            <a:noAutofit/>
          </a:bodyPr>
          <a:lstStyle>
            <a:lvl1pPr marL="0" indent="0" algn="l">
              <a:buNone/>
              <a:defRPr sz="2400" b="0" baseline="0">
                <a:solidFill>
                  <a:srgbClr val="C60C30"/>
                </a:solidFill>
                <a:latin typeface="Lucida Sans Unicode" panose="020B0602030504020204" pitchFamily="34" charset="0"/>
                <a:ea typeface="Verdana" pitchFamily="34" charset="0"/>
                <a:cs typeface="Lucida Sans Unicode" panose="020B0602030504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Klik om de ondertitelstijl van het model te bewerken</a:t>
            </a:r>
          </a:p>
        </p:txBody>
      </p:sp>
    </p:spTree>
    <p:extLst>
      <p:ext uri="{BB962C8B-B14F-4D97-AF65-F5344CB8AC3E}">
        <p14:creationId xmlns:p14="http://schemas.microsoft.com/office/powerpoint/2010/main" val="3753846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Closing Slide">
    <p:bg bwMode="gray">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 name="AddNotifier#1"/>
          <p:cNvSpPr txBox="1">
            <a:spLocks noChangeArrowheads="1"/>
          </p:cNvSpPr>
          <p:nvPr userDrawn="1"/>
        </p:nvSpPr>
        <p:spPr bwMode="auto">
          <a:xfrm>
            <a:off x="2160688" y="2955926"/>
            <a:ext cx="7876975"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fontAlgn="auto">
              <a:spcBef>
                <a:spcPts val="0"/>
              </a:spcBef>
              <a:spcAft>
                <a:spcPts val="0"/>
              </a:spcAft>
              <a:defRPr/>
            </a:pPr>
            <a:endParaRPr lang="nl-NL" sz="1200" spc="-40" noProof="0" dirty="0">
              <a:latin typeface="Lucida Bright" panose="02040602050505020304" pitchFamily="18" charset="0"/>
              <a:ea typeface="Verdana" pitchFamily="34" charset="0"/>
              <a:cs typeface="Verdana" pitchFamily="34" charset="0"/>
            </a:endParaRPr>
          </a:p>
          <a:p>
            <a:pPr fontAlgn="auto">
              <a:spcBef>
                <a:spcPts val="0"/>
              </a:spcBef>
              <a:spcAft>
                <a:spcPts val="0"/>
              </a:spcAft>
              <a:defRPr/>
            </a:pPr>
            <a:endParaRPr lang="nl-NL" sz="800" spc="-40" noProof="0" dirty="0">
              <a:latin typeface="Lucida Bright" panose="02040602050505020304" pitchFamily="18" charset="0"/>
              <a:ea typeface="Verdana" pitchFamily="34" charset="0"/>
              <a:cs typeface="Verdana" pitchFamily="34" charset="0"/>
            </a:endParaRPr>
          </a:p>
          <a:p>
            <a:pPr fontAlgn="auto">
              <a:spcBef>
                <a:spcPts val="0"/>
              </a:spcBef>
              <a:spcAft>
                <a:spcPts val="0"/>
              </a:spcAft>
              <a:defRPr/>
            </a:pPr>
            <a:r>
              <a:rPr lang="nl-NL" sz="1200" spc="-40" baseline="0" noProof="0" dirty="0">
                <a:latin typeface="Lucida Sans"/>
                <a:ea typeface="Verdana" pitchFamily="34" charset="0"/>
                <a:cs typeface="Verdana" pitchFamily="34" charset="0"/>
              </a:rPr>
              <a:t>© NOREA</a:t>
            </a:r>
          </a:p>
        </p:txBody>
      </p:sp>
      <p:sp>
        <p:nvSpPr>
          <p:cNvPr id="2" name="Title 1"/>
          <p:cNvSpPr>
            <a:spLocks noGrp="1"/>
          </p:cNvSpPr>
          <p:nvPr>
            <p:ph type="ctrTitle"/>
          </p:nvPr>
        </p:nvSpPr>
        <p:spPr>
          <a:xfrm>
            <a:off x="2160688" y="1620000"/>
            <a:ext cx="7876975" cy="1245600"/>
          </a:xfrm>
        </p:spPr>
        <p:txBody>
          <a:bodyPr>
            <a:noAutofit/>
          </a:bodyPr>
          <a:lstStyle>
            <a:lvl1pPr>
              <a:defRPr sz="3200" baseline="0">
                <a:solidFill>
                  <a:srgbClr val="444444"/>
                </a:solidFill>
                <a:latin typeface="Lucida Sans" panose="020B0602030504020204" pitchFamily="34" charset="0"/>
              </a:defRPr>
            </a:lvl1pPr>
          </a:lstStyle>
          <a:p>
            <a:r>
              <a:rPr lang="nl-NL" dirty="0"/>
              <a:t>Klik om de stijl te bewerken</a:t>
            </a:r>
          </a:p>
        </p:txBody>
      </p:sp>
    </p:spTree>
    <p:extLst>
      <p:ext uri="{BB962C8B-B14F-4D97-AF65-F5344CB8AC3E}">
        <p14:creationId xmlns:p14="http://schemas.microsoft.com/office/powerpoint/2010/main" val="448096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spc="20" baseline="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baseline="0"/>
            </a:lvl1pPr>
          </a:lstStyle>
          <a:p>
            <a:fld id="{6D88B290-E1D8-4260-A99A-0E8D88B874EF}" type="datetime3">
              <a:rPr lang="en-US" smtClean="0"/>
              <a:t>13 March 2024</a:t>
            </a:fld>
            <a:endParaRPr lang="en-US"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baseline="0"/>
            </a:lvl1pPr>
          </a:lstStyle>
          <a:p>
            <a:r>
              <a:rPr lang="en-US"/>
              <a:t>Smart Contract Analyzer</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lvl1pPr>
              <a:defRPr baseline="0"/>
            </a:lvl1p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lvl1pPr>
              <a:defRPr spc="20" baseline="0"/>
            </a:lvl1pPr>
            <a:lvl2pPr>
              <a:defRPr spc="20" baseline="0"/>
            </a:lvl2pPr>
            <a:lvl3pPr>
              <a:defRPr spc="20" baseline="0"/>
            </a:lvl3pPr>
            <a:lvl4pPr>
              <a:defRPr spc="20" baseline="0"/>
            </a:lvl4pPr>
            <a:lvl5pPr>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tandard slide 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spcBef>
                <a:spcPts val="0"/>
              </a:spcBef>
              <a:buNone/>
              <a:defRPr spc="20" baseline="0">
                <a:solidFill>
                  <a:schemeClr val="bg1"/>
                </a:solidFill>
              </a:defRPr>
            </a:lvl1pPr>
            <a:lvl2pPr marL="0" indent="0">
              <a:spcBef>
                <a:spcPts val="0"/>
              </a:spcBef>
              <a:buNone/>
              <a:defRPr sz="1800" spc="20" baseline="0">
                <a:solidFill>
                  <a:schemeClr val="bg1"/>
                </a:solidFill>
              </a:defRPr>
            </a:lvl2pPr>
            <a:lvl3pPr marL="0" indent="0">
              <a:spcBef>
                <a:spcPts val="0"/>
              </a:spcBef>
              <a:buNone/>
              <a:defRPr sz="1600" spc="20" baseline="0">
                <a:solidFill>
                  <a:schemeClr val="bg1"/>
                </a:solidFill>
              </a:defRPr>
            </a:lvl3pPr>
            <a:lvl4pPr marL="0" indent="0">
              <a:spcBef>
                <a:spcPts val="0"/>
              </a:spcBef>
              <a:buNone/>
              <a:defRPr sz="1400" spc="20" baseline="0">
                <a:solidFill>
                  <a:schemeClr val="bg1"/>
                </a:solidFill>
              </a:defRPr>
            </a:lvl4pPr>
            <a:lvl5pPr marL="0" indent="0">
              <a:spcBef>
                <a:spcPts val="0"/>
              </a:spcBef>
              <a:buNone/>
              <a:defRPr sz="1200"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D483E887-8276-45BF-8104-990B21C3DFDB}" type="datetime3">
              <a:rPr lang="en-US" smtClean="0"/>
              <a:t>13 March 2024</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Smart Contract Analyzer</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2695294" y="294200"/>
            <a:ext cx="8892000" cy="590400"/>
          </a:xfrm>
        </p:spPr>
        <p:txBody>
          <a:bodyPr/>
          <a:lstStyle>
            <a:lvl1pPr>
              <a:defRPr sz="2400"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spc="2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spc="2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spc="2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E08BD3FC-3842-4C11-A270-D4DE311FF2EC}" type="datetime3">
              <a:rPr lang="en-US" smtClean="0"/>
              <a:t>13 March 2024</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Smart Contract Analyzer</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
        <p:nvSpPr>
          <p:cNvPr id="5" name="Picture Placeholder 4">
            <a:extLst>
              <a:ext uri="{FF2B5EF4-FFF2-40B4-BE49-F238E27FC236}">
                <a16:creationId xmlns:a16="http://schemas.microsoft.com/office/drawing/2014/main" id="{380593A0-4211-460E-B6CF-FE2D9CE6D9CB}"/>
              </a:ext>
            </a:extLst>
          </p:cNvPr>
          <p:cNvSpPr>
            <a:spLocks noGrp="1" noChangeAspect="1"/>
          </p:cNvSpPr>
          <p:nvPr>
            <p:ph type="pic" sz="quarter" idx="10"/>
          </p:nvPr>
        </p:nvSpPr>
        <p:spPr>
          <a:xfrm>
            <a:off x="0" y="0"/>
            <a:ext cx="2502000" cy="6857999"/>
          </a:xfrm>
        </p:spPr>
        <p:txBody>
          <a:bodyPr/>
          <a:lstStyle>
            <a:lvl1pPr marL="0" indent="0">
              <a:buFontTx/>
              <a:buNone/>
              <a:defRPr/>
            </a:lvl1pPr>
          </a:lstStyle>
          <a:p>
            <a:r>
              <a:rPr lang="en-US"/>
              <a:t>Click icon to add picture</a:t>
            </a:r>
            <a:endParaRPr lang="en-IN" dirty="0"/>
          </a:p>
        </p:txBody>
      </p:sp>
    </p:spTree>
    <p:extLst>
      <p:ext uri="{BB962C8B-B14F-4D97-AF65-F5344CB8AC3E}">
        <p14:creationId xmlns:p14="http://schemas.microsoft.com/office/powerpoint/2010/main" val="353138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noChangeAspect="1"/>
          </p:cNvSpPr>
          <p:nvPr>
            <p:ph type="pic" sz="quarter" idx="10"/>
          </p:nvPr>
        </p:nvSpPr>
        <p:spPr>
          <a:xfrm>
            <a:off x="8199120" y="1"/>
            <a:ext cx="3999231" cy="6156104"/>
          </a:xfrm>
        </p:spPr>
        <p:txBody>
          <a:bodyPr/>
          <a:lstStyle>
            <a:lvl1pPr marL="0" indent="0">
              <a:buFontTx/>
              <a:buNone/>
              <a:defRPr/>
            </a:lvl1p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spc="2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spc="2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spc="20" baseline="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19469"/>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2ACACCAE-F647-4921-9BA4-C81CA26645AA}" type="datetime3">
              <a:rPr lang="en-US" smtClean="0"/>
              <a:t>13 March 2024</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Smart Contract Analyzer</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00" spc="20" baseline="0" smtClean="0">
                <a:solidFill>
                  <a:schemeClr val="bg1"/>
                </a:solidFill>
                <a:latin typeface="EYInterstate" panose="02000503020000020004" pitchFamily="2" charset="0"/>
                <a:ea typeface="+mn-ea"/>
                <a:cs typeface="+mn-cs"/>
              </a:defRPr>
            </a:lvl1pPr>
          </a:lstStyle>
          <a:p>
            <a:fld id="{E6BAC13E-F5B6-447F-97C2-8B04779FC4DE}" type="datetime3">
              <a:rPr lang="en-US" smtClean="0"/>
              <a:t>13 March 2024</a:t>
            </a:fld>
            <a:endParaRPr lang="en-US"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00" spc="20" baseline="0" dirty="0">
                <a:solidFill>
                  <a:schemeClr val="bg1"/>
                </a:solidFill>
                <a:latin typeface="EYInterstate" panose="02000503020000020004" pitchFamily="2" charset="0"/>
                <a:ea typeface="+mn-ea"/>
                <a:cs typeface="+mn-cs"/>
              </a:defRPr>
            </a:lvl1pPr>
          </a:lstStyle>
          <a:p>
            <a:r>
              <a:rPr lang="en-US"/>
              <a:t>Smart Contract Analyzer</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00" spc="20" baseline="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87" r:id="rId2"/>
    <p:sldLayoutId id="2147483825" r:id="rId3"/>
    <p:sldLayoutId id="2147483826" r:id="rId4"/>
    <p:sldLayoutId id="2147483871" r:id="rId5"/>
    <p:sldLayoutId id="2147483827" r:id="rId6"/>
    <p:sldLayoutId id="2147483828" r:id="rId7"/>
    <p:sldLayoutId id="2147483872" r:id="rId8"/>
    <p:sldLayoutId id="2147483873" r:id="rId9"/>
    <p:sldLayoutId id="2147483875" r:id="rId10"/>
    <p:sldLayoutId id="2147483830" r:id="rId11"/>
    <p:sldLayoutId id="2147483832" r:id="rId12"/>
    <p:sldLayoutId id="2147483833" r:id="rId13"/>
    <p:sldLayoutId id="2147483836" r:id="rId14"/>
    <p:sldLayoutId id="2147483877" r:id="rId15"/>
    <p:sldLayoutId id="2147483876" r:id="rId16"/>
    <p:sldLayoutId id="2147483829" r:id="rId17"/>
    <p:sldLayoutId id="2147483921" r:id="rId18"/>
    <p:sldLayoutId id="2147483923" r:id="rId19"/>
    <p:sldLayoutId id="2147483834" r:id="rId20"/>
    <p:sldLayoutId id="2147483838" r:id="rId21"/>
    <p:sldLayoutId id="2147483874" r:id="rId22"/>
    <p:sldLayoutId id="2147483926" r:id="rId23"/>
  </p:sldLayoutIdLst>
  <p:hf hdr="0"/>
  <p:txStyles>
    <p:titleStyle>
      <a:lvl1pPr algn="l" defTabSz="914400" rtl="0" eaLnBrk="1" latinLnBrk="0" hangingPunct="1">
        <a:lnSpc>
          <a:spcPct val="85000"/>
        </a:lnSpc>
        <a:spcBef>
          <a:spcPct val="0"/>
        </a:spcBef>
        <a:buNone/>
        <a:defRPr sz="2400" b="0" kern="100" spc="20" baseline="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00" spc="20" baseline="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00" spc="20" baseline="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00" spc="20" baseline="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00" spc="20" baseline="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00" spc="20" baseline="0" smtClean="0">
                <a:solidFill>
                  <a:schemeClr val="bg1"/>
                </a:solidFill>
                <a:latin typeface="EYInterstate" panose="02000503020000020004" pitchFamily="2" charset="0"/>
                <a:ea typeface="+mn-ea"/>
                <a:cs typeface="+mn-cs"/>
              </a:defRPr>
            </a:lvl1pPr>
          </a:lstStyle>
          <a:p>
            <a:fld id="{0EA5C1F9-E4E3-4853-96A7-8D4B1A1C3592}" type="datetime3">
              <a:rPr lang="en-US" smtClean="0"/>
              <a:t>13 March 2024</a:t>
            </a:fld>
            <a:endParaRPr lang="nl-NL"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00" spc="20" baseline="0" smtClean="0">
                <a:solidFill>
                  <a:schemeClr val="bg1"/>
                </a:solidFill>
                <a:latin typeface="EYInterstate" panose="02000503020000020004" pitchFamily="2" charset="0"/>
                <a:ea typeface="+mn-ea"/>
                <a:cs typeface="+mn-cs"/>
              </a:defRPr>
            </a:lvl1pPr>
          </a:lstStyle>
          <a:p>
            <a:r>
              <a:rPr lang="en-IN"/>
              <a:t>Smart Contract Analyzer</a:t>
            </a:r>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00" spc="20" baseline="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5" r:id="rId2"/>
    <p:sldLayoutId id="2147483896" r:id="rId3"/>
    <p:sldLayoutId id="2147483905" r:id="rId4"/>
    <p:sldLayoutId id="2147483897" r:id="rId5"/>
    <p:sldLayoutId id="2147483901" r:id="rId6"/>
    <p:sldLayoutId id="2147483900" r:id="rId7"/>
    <p:sldLayoutId id="2147483899" r:id="rId8"/>
    <p:sldLayoutId id="2147483898" r:id="rId9"/>
    <p:sldLayoutId id="2147483907" r:id="rId10"/>
    <p:sldLayoutId id="2147483909" r:id="rId11"/>
    <p:sldLayoutId id="2147483910" r:id="rId12"/>
    <p:sldLayoutId id="2147483913" r:id="rId13"/>
    <p:sldLayoutId id="2147483903" r:id="rId14"/>
    <p:sldLayoutId id="2147483904" r:id="rId15"/>
    <p:sldLayoutId id="2147483906" r:id="rId16"/>
    <p:sldLayoutId id="2147483922" r:id="rId17"/>
    <p:sldLayoutId id="2147483924" r:id="rId18"/>
    <p:sldLayoutId id="2147483911" r:id="rId19"/>
    <p:sldLayoutId id="2147483915" r:id="rId20"/>
    <p:sldLayoutId id="2147483916" r:id="rId21"/>
    <p:sldLayoutId id="2147483928" r:id="rId22"/>
    <p:sldLayoutId id="2147483929" r:id="rId23"/>
    <p:sldLayoutId id="2147483930" r:id="rId24"/>
    <p:sldLayoutId id="2147483931" r:id="rId25"/>
    <p:sldLayoutId id="2147483932" r:id="rId26"/>
    <p:sldLayoutId id="2147483933" r:id="rId27"/>
    <p:sldLayoutId id="2147483934" r:id="rId28"/>
    <p:sldLayoutId id="2147483935" r:id="rId29"/>
    <p:sldLayoutId id="2147483936" r:id="rId30"/>
  </p:sldLayoutIdLst>
  <p:hf hdr="0"/>
  <p:txStyles>
    <p:titleStyle>
      <a:lvl1pPr algn="l" defTabSz="914400" rtl="0" eaLnBrk="1" latinLnBrk="0" hangingPunct="1">
        <a:lnSpc>
          <a:spcPct val="85000"/>
        </a:lnSpc>
        <a:spcBef>
          <a:spcPct val="0"/>
        </a:spcBef>
        <a:buNone/>
        <a:defRPr sz="2400" b="0" kern="100" spc="20" baseline="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00" spc="20" baseline="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00" spc="20" baseline="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00" spc="20" baseline="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00" spc="20" baseline="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53.png"/><Relationship Id="rId18" Type="http://schemas.openxmlformats.org/officeDocument/2006/relationships/image" Target="../media/image58.svg"/><Relationship Id="rId3" Type="http://schemas.openxmlformats.org/officeDocument/2006/relationships/tags" Target="../tags/tag13.xml"/><Relationship Id="rId21" Type="http://schemas.openxmlformats.org/officeDocument/2006/relationships/image" Target="../media/image61.png"/><Relationship Id="rId7" Type="http://schemas.openxmlformats.org/officeDocument/2006/relationships/slideLayout" Target="../slideLayouts/slideLayout48.xml"/><Relationship Id="rId12" Type="http://schemas.openxmlformats.org/officeDocument/2006/relationships/image" Target="../media/image52.svg"/><Relationship Id="rId17" Type="http://schemas.openxmlformats.org/officeDocument/2006/relationships/image" Target="../media/image57.png"/><Relationship Id="rId2" Type="http://schemas.openxmlformats.org/officeDocument/2006/relationships/tags" Target="../tags/tag12.xml"/><Relationship Id="rId16" Type="http://schemas.openxmlformats.org/officeDocument/2006/relationships/image" Target="../media/image56.svg"/><Relationship Id="rId20" Type="http://schemas.openxmlformats.org/officeDocument/2006/relationships/image" Target="../media/image60.sv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51.png"/><Relationship Id="rId5" Type="http://schemas.openxmlformats.org/officeDocument/2006/relationships/tags" Target="../tags/tag15.xml"/><Relationship Id="rId15" Type="http://schemas.openxmlformats.org/officeDocument/2006/relationships/image" Target="../media/image55.png"/><Relationship Id="rId23" Type="http://schemas.openxmlformats.org/officeDocument/2006/relationships/image" Target="../media/image13.png"/><Relationship Id="rId10" Type="http://schemas.openxmlformats.org/officeDocument/2006/relationships/image" Target="../media/image50.svg"/><Relationship Id="rId19" Type="http://schemas.openxmlformats.org/officeDocument/2006/relationships/image" Target="../media/image59.png"/><Relationship Id="rId4" Type="http://schemas.openxmlformats.org/officeDocument/2006/relationships/tags" Target="../tags/tag14.xml"/><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svg"/></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png"/><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28.xml"/><Relationship Id="rId6" Type="http://schemas.openxmlformats.org/officeDocument/2006/relationships/image" Target="../media/image68.png"/><Relationship Id="rId5" Type="http://schemas.openxmlformats.org/officeDocument/2006/relationships/image" Target="../media/image67.svg"/><Relationship Id="rId10" Type="http://schemas.openxmlformats.org/officeDocument/2006/relationships/image" Target="../media/image13.png"/><Relationship Id="rId4" Type="http://schemas.openxmlformats.org/officeDocument/2006/relationships/image" Target="../media/image66.png"/><Relationship Id="rId9" Type="http://schemas.openxmlformats.org/officeDocument/2006/relationships/image" Target="../media/image71.sv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7.xml"/><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29.xml"/><Relationship Id="rId6" Type="http://schemas.openxmlformats.org/officeDocument/2006/relationships/image" Target="../media/image76.svg"/><Relationship Id="rId11" Type="http://schemas.openxmlformats.org/officeDocument/2006/relationships/image" Target="../media/image13.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svg"/><Relationship Id="rId9" Type="http://schemas.openxmlformats.org/officeDocument/2006/relationships/image" Target="../media/image79.png"/></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slideLayout" Target="../slideLayouts/slideLayout49.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tags" Target="../tags/tag6.xml"/><Relationship Id="rId16" Type="http://schemas.openxmlformats.org/officeDocument/2006/relationships/image" Target="../media/image13.png"/><Relationship Id="rId1" Type="http://schemas.openxmlformats.org/officeDocument/2006/relationships/tags" Target="../tags/tag5.xml"/><Relationship Id="rId6" Type="http://schemas.openxmlformats.org/officeDocument/2006/relationships/image" Target="../media/image8.emf"/><Relationship Id="rId11" Type="http://schemas.openxmlformats.org/officeDocument/2006/relationships/image" Target="../media/image18.png"/><Relationship Id="rId5" Type="http://schemas.openxmlformats.org/officeDocument/2006/relationships/oleObject" Target="../embeddings/oleObject3.bin"/><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notesSlide" Target="../notesSlides/notesSlide2.xml"/><Relationship Id="rId9" Type="http://schemas.openxmlformats.org/officeDocument/2006/relationships/image" Target="../media/image16.pn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slideLayout" Target="../slideLayouts/slideLayout49.xml"/><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tags" Target="../tags/tag8.xml"/><Relationship Id="rId16" Type="http://schemas.openxmlformats.org/officeDocument/2006/relationships/image" Target="../media/image32.png"/><Relationship Id="rId1" Type="http://schemas.openxmlformats.org/officeDocument/2006/relationships/tags" Target="../tags/tag7.xml"/><Relationship Id="rId6" Type="http://schemas.openxmlformats.org/officeDocument/2006/relationships/image" Target="../media/image8.emf"/><Relationship Id="rId11" Type="http://schemas.openxmlformats.org/officeDocument/2006/relationships/image" Target="../media/image27.png"/><Relationship Id="rId5" Type="http://schemas.openxmlformats.org/officeDocument/2006/relationships/oleObject" Target="../embeddings/oleObject3.bin"/><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notesSlide" Target="../notesSlides/notesSlide3.xml"/><Relationship Id="rId9" Type="http://schemas.openxmlformats.org/officeDocument/2006/relationships/image" Target="../media/image25.png"/><Relationship Id="rId1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openxmlformats.org/officeDocument/2006/relationships/image" Target="../media/image13.png"/><Relationship Id="rId4" Type="http://schemas.openxmlformats.org/officeDocument/2006/relationships/image" Target="../media/image34.svg"/></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46.xml"/><Relationship Id="rId7" Type="http://schemas.openxmlformats.org/officeDocument/2006/relationships/image" Target="../media/image36.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5.emf"/><Relationship Id="rId5" Type="http://schemas.openxmlformats.org/officeDocument/2006/relationships/oleObject" Target="../embeddings/oleObject4.bin"/><Relationship Id="rId10" Type="http://schemas.openxmlformats.org/officeDocument/2006/relationships/image" Target="../media/image13.png"/><Relationship Id="rId4" Type="http://schemas.openxmlformats.org/officeDocument/2006/relationships/notesSlide" Target="../notesSlides/notesSlide5.xml"/><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13.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notesSlide" Target="../notesSlides/notesSlide6.xml"/><Relationship Id="rId1" Type="http://schemas.openxmlformats.org/officeDocument/2006/relationships/slideLayout" Target="../slideLayouts/slideLayout47.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ctrTitle"/>
          </p:nvPr>
        </p:nvSpPr>
        <p:spPr>
          <a:xfrm>
            <a:off x="2162738" y="1397001"/>
            <a:ext cx="7872875" cy="1470025"/>
          </a:xfrm>
        </p:spPr>
        <p:txBody>
          <a:bodyPr/>
          <a:lstStyle/>
          <a:p>
            <a:pPr eaLnBrk="1" hangingPunct="1"/>
            <a:r>
              <a:rPr lang="nl-NL" altLang="en-US" dirty="0"/>
              <a:t>Webinar Smart Contract Risk</a:t>
            </a:r>
          </a:p>
        </p:txBody>
      </p:sp>
      <p:sp>
        <p:nvSpPr>
          <p:cNvPr id="9219" name="Subtitle 2"/>
          <p:cNvSpPr>
            <a:spLocks noGrp="1"/>
          </p:cNvSpPr>
          <p:nvPr>
            <p:ph type="subTitle" idx="1"/>
          </p:nvPr>
        </p:nvSpPr>
        <p:spPr>
          <a:xfrm>
            <a:off x="2162738" y="2955926"/>
            <a:ext cx="7872875" cy="1485900"/>
          </a:xfrm>
        </p:spPr>
        <p:txBody>
          <a:bodyPr/>
          <a:lstStyle/>
          <a:p>
            <a:pPr eaLnBrk="1" hangingPunct="1"/>
            <a:r>
              <a:rPr lang="nl-NL" altLang="en-US" dirty="0">
                <a:latin typeface="Lucida Sans" panose="020B0602030504020204" pitchFamily="34" charset="0"/>
              </a:rPr>
              <a:t>	Kennisgroep </a:t>
            </a:r>
            <a:r>
              <a:rPr lang="nl-NL" altLang="en-US" dirty="0" err="1">
                <a:latin typeface="Lucida Sans" panose="020B0602030504020204" pitchFamily="34" charset="0"/>
              </a:rPr>
              <a:t>Keteninfomanagement</a:t>
            </a:r>
            <a:endParaRPr lang="nl-NL" altLang="en-US" dirty="0">
              <a:latin typeface="Lucida Sans" panose="020B0602030504020204" pitchFamily="34" charset="0"/>
            </a:endParaRPr>
          </a:p>
          <a:p>
            <a:pPr eaLnBrk="1" hangingPunct="1"/>
            <a:endParaRPr lang="nl-NL" altLang="en-US" dirty="0">
              <a:latin typeface="Lucida Sans" panose="020B0602030504020204" pitchFamily="34" charset="0"/>
            </a:endParaRPr>
          </a:p>
          <a:p>
            <a:pPr eaLnBrk="1" hangingPunct="1"/>
            <a:r>
              <a:rPr lang="nl-NL" altLang="en-US" dirty="0">
                <a:latin typeface="Lucida Sans" panose="020B0602030504020204" pitchFamily="34" charset="0"/>
              </a:rPr>
              <a:t>Sprekers: Michel Bernsen en Kees Schonebaum</a:t>
            </a:r>
          </a:p>
          <a:p>
            <a:pPr eaLnBrk="1" hangingPunct="1"/>
            <a:endParaRPr lang="nl-NL" altLang="en-US" dirty="0">
              <a:latin typeface="Lucida Sans" panose="020B0602030504020204" pitchFamily="34" charset="0"/>
            </a:endParaRPr>
          </a:p>
        </p:txBody>
      </p:sp>
      <p:sp>
        <p:nvSpPr>
          <p:cNvPr id="4" name="AddCustomDate#1"/>
          <p:cNvSpPr txBox="1">
            <a:spLocks noChangeArrowheads="1"/>
          </p:cNvSpPr>
          <p:nvPr/>
        </p:nvSpPr>
        <p:spPr bwMode="auto">
          <a:xfrm>
            <a:off x="5239753" y="4652964"/>
            <a:ext cx="13917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nl-NL"/>
            </a:defPPr>
            <a:lvl1pPr>
              <a:defRPr sz="1200" spc="-100" baseline="0">
                <a:solidFill>
                  <a:srgbClr val="444444"/>
                </a:solidFill>
                <a:latin typeface="Lucida Bright" panose="02040602050505020304" pitchFamily="18" charset="0"/>
                <a:ea typeface="Verdana" pitchFamily="34" charset="0"/>
                <a:cs typeface="Verdana" pitchFamily="34" charset="0"/>
              </a:defRPr>
            </a:lvl1pPr>
            <a:lvl2pPr marL="742950" indent="-285750"/>
            <a:lvl3pPr marL="1143000" indent="-228600"/>
            <a:lvl4pPr marL="1600200" indent="-228600"/>
            <a:lvl5pPr marL="2057400" indent="-228600"/>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pPr lvl="0"/>
            <a:r>
              <a:rPr lang="nl-NL" altLang="en-US" sz="1600" dirty="0">
                <a:latin typeface="Lucida Sans"/>
              </a:rPr>
              <a:t>7 maart 2024</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342B3-0575-B0C1-B524-E25FDA6E0BD7}"/>
              </a:ext>
            </a:extLst>
          </p:cNvPr>
          <p:cNvSpPr>
            <a:spLocks noGrp="1"/>
          </p:cNvSpPr>
          <p:nvPr>
            <p:ph type="title"/>
          </p:nvPr>
        </p:nvSpPr>
        <p:spPr/>
        <p:txBody>
          <a:bodyPr/>
          <a:lstStyle/>
          <a:p>
            <a:r>
              <a:rPr lang="en-US" dirty="0"/>
              <a:t>How does a blockchain transaction work?</a:t>
            </a:r>
            <a:endParaRPr lang="nl-NL" dirty="0"/>
          </a:p>
        </p:txBody>
      </p:sp>
      <p:sp>
        <p:nvSpPr>
          <p:cNvPr id="5" name="Content Placeholder 4">
            <a:extLst>
              <a:ext uri="{FF2B5EF4-FFF2-40B4-BE49-F238E27FC236}">
                <a16:creationId xmlns:a16="http://schemas.microsoft.com/office/drawing/2014/main" id="{A6092E7A-DA31-01AF-B338-4997A8D9A4C2}"/>
              </a:ext>
            </a:extLst>
          </p:cNvPr>
          <p:cNvSpPr>
            <a:spLocks noGrp="1"/>
          </p:cNvSpPr>
          <p:nvPr>
            <p:ph idx="1"/>
          </p:nvPr>
        </p:nvSpPr>
        <p:spPr>
          <a:xfrm>
            <a:off x="619651" y="1078173"/>
            <a:ext cx="10978515" cy="5001463"/>
          </a:xfrm>
          <a:prstGeom prst="homePlate">
            <a:avLst/>
          </a:prstGeom>
        </p:spPr>
        <p:txBody>
          <a:bodyPr/>
          <a:lstStyle/>
          <a:p>
            <a:pPr marL="0" indent="0">
              <a:buNone/>
            </a:pPr>
            <a:r>
              <a:rPr lang="en-US" sz="1200" dirty="0">
                <a:latin typeface="EYInterstate Light" panose="02000506000000020004" pitchFamily="2" charset="0"/>
              </a:rPr>
              <a:t>Blockchain is a way to record and store data:</a:t>
            </a:r>
          </a:p>
          <a:p>
            <a:pPr marL="179388" indent="-179388">
              <a:buClr>
                <a:schemeClr val="tx1"/>
              </a:buClr>
              <a:buSzPct val="75000"/>
              <a:buFont typeface="Wingdings 3" panose="05040102010807070707" pitchFamily="18" charset="2"/>
              <a:buChar char=""/>
            </a:pPr>
            <a:r>
              <a:rPr lang="en-US" sz="1200" dirty="0">
                <a:latin typeface="EYInterstate Light" panose="02000506000000020004" pitchFamily="2" charset="0"/>
              </a:rPr>
              <a:t>- Real time shared database </a:t>
            </a:r>
          </a:p>
          <a:p>
            <a:pPr marL="179388" indent="-179388">
              <a:buClr>
                <a:schemeClr val="tx1"/>
              </a:buClr>
              <a:buSzPct val="75000"/>
              <a:buFont typeface="Wingdings 3" panose="05040102010807070707" pitchFamily="18" charset="2"/>
              <a:buChar char=""/>
            </a:pPr>
            <a:r>
              <a:rPr lang="en-US" sz="1200" dirty="0">
                <a:latin typeface="EYInterstate Light" panose="02000506000000020004" pitchFamily="2" charset="0"/>
              </a:rPr>
              <a:t>- Validated by all nodes</a:t>
            </a:r>
          </a:p>
          <a:p>
            <a:pPr marL="179388" indent="-179388">
              <a:buClr>
                <a:schemeClr val="tx1"/>
              </a:buClr>
              <a:buSzPct val="75000"/>
              <a:buFont typeface="Wingdings 3" panose="05040102010807070707" pitchFamily="18" charset="2"/>
              <a:buChar char=""/>
            </a:pPr>
            <a:r>
              <a:rPr lang="en-US" sz="1200" dirty="0">
                <a:latin typeface="EYInterstate Light" panose="02000506000000020004" pitchFamily="2" charset="0"/>
              </a:rPr>
              <a:t>- Secure due to consensus</a:t>
            </a:r>
          </a:p>
          <a:p>
            <a:pPr marL="179388" indent="-179388">
              <a:buClr>
                <a:schemeClr val="tx1"/>
              </a:buClr>
              <a:buSzPct val="75000"/>
              <a:buFont typeface="Wingdings 3" panose="05040102010807070707" pitchFamily="18" charset="2"/>
              <a:buChar char=""/>
            </a:pPr>
            <a:r>
              <a:rPr lang="en-US" sz="1200" dirty="0">
                <a:latin typeface="EYInterstate Light" panose="02000506000000020004" pitchFamily="2" charset="0"/>
              </a:rPr>
              <a:t>- Hashing ensures immutability</a:t>
            </a:r>
          </a:p>
          <a:p>
            <a:pPr marL="179388" indent="-179388">
              <a:buClr>
                <a:srgbClr val="2E2E38"/>
              </a:buClr>
              <a:buSzPct val="75000"/>
              <a:buFont typeface="Wingdings 3" panose="05040102010807070707" pitchFamily="18" charset="2"/>
              <a:buChar char=""/>
            </a:pPr>
            <a:endParaRPr lang="en-US" sz="1200" dirty="0">
              <a:latin typeface="EYInterstate Light" panose="02000506000000020004" pitchFamily="2" charset="0"/>
            </a:endParaRPr>
          </a:p>
          <a:p>
            <a:pPr>
              <a:buClr>
                <a:srgbClr val="2E2E38"/>
              </a:buClr>
              <a:buSzPct val="75000"/>
            </a:pPr>
            <a:endParaRPr lang="en-US" sz="1200" dirty="0">
              <a:latin typeface="EYInterstate Light" panose="02000506000000020004" pitchFamily="2" charset="0"/>
            </a:endParaRPr>
          </a:p>
          <a:p>
            <a:pPr>
              <a:buClr>
                <a:srgbClr val="2E2E38"/>
              </a:buClr>
              <a:buSzPct val="75000"/>
            </a:pPr>
            <a:endParaRPr lang="nl-NL" sz="1200" dirty="0">
              <a:latin typeface="EYInterstate Light" panose="02000506000000020004" pitchFamily="2" charset="0"/>
            </a:endParaRPr>
          </a:p>
        </p:txBody>
      </p:sp>
      <p:sp>
        <p:nvSpPr>
          <p:cNvPr id="3" name="Date Placeholder 2">
            <a:extLst>
              <a:ext uri="{FF2B5EF4-FFF2-40B4-BE49-F238E27FC236}">
                <a16:creationId xmlns:a16="http://schemas.microsoft.com/office/drawing/2014/main" id="{F1F32818-6842-C8A6-3769-17E7C4A28E2E}"/>
              </a:ext>
            </a:extLst>
          </p:cNvPr>
          <p:cNvSpPr>
            <a:spLocks noGrp="1"/>
          </p:cNvSpPr>
          <p:nvPr>
            <p:ph type="dt" sz="half" idx="10"/>
          </p:nvPr>
        </p:nvSpPr>
        <p:spPr/>
        <p:txBody>
          <a:bodyPr/>
          <a:lstStyle/>
          <a:p>
            <a:fld id="{41C87B0F-2DC9-49E0-8291-D3220D9823A0}" type="datetime1">
              <a:rPr lang="en-US" noProof="0" smtClean="0">
                <a:solidFill>
                  <a:schemeClr val="tx1"/>
                </a:solidFill>
              </a:rPr>
              <a:t>3/13/2024</a:t>
            </a:fld>
            <a:endParaRPr lang="en-US" noProof="0" dirty="0">
              <a:solidFill>
                <a:schemeClr val="tx1"/>
              </a:solidFill>
            </a:endParaRPr>
          </a:p>
        </p:txBody>
      </p:sp>
      <p:sp>
        <p:nvSpPr>
          <p:cNvPr id="4" name="Slide Number Placeholder 3">
            <a:extLst>
              <a:ext uri="{FF2B5EF4-FFF2-40B4-BE49-F238E27FC236}">
                <a16:creationId xmlns:a16="http://schemas.microsoft.com/office/drawing/2014/main" id="{E3E1230E-DE83-F10D-6883-E3C8A5547298}"/>
              </a:ext>
            </a:extLst>
          </p:cNvPr>
          <p:cNvSpPr>
            <a:spLocks noGrp="1"/>
          </p:cNvSpPr>
          <p:nvPr>
            <p:ph type="sldNum" sz="quarter" idx="12"/>
          </p:nvPr>
        </p:nvSpPr>
        <p:spPr/>
        <p:txBody>
          <a:bodyPr/>
          <a:lstStyle/>
          <a:p>
            <a:r>
              <a:rPr lang="en-US">
                <a:solidFill>
                  <a:schemeClr val="tx1"/>
                </a:solidFill>
                <a:latin typeface="EYInterstate Light" panose="02000506000000020004" pitchFamily="2" charset="0"/>
              </a:rPr>
              <a:t>Page </a:t>
            </a:r>
            <a:fld id="{F1BC30E3-FFE5-4B91-AA19-87A149EBB9EE}" type="slidenum">
              <a:rPr lang="en-US" smtClean="0">
                <a:solidFill>
                  <a:schemeClr val="tx1"/>
                </a:solidFill>
                <a:latin typeface="EYInterstate Light" panose="02000506000000020004" pitchFamily="2" charset="0"/>
              </a:rPr>
              <a:pPr/>
              <a:t>10</a:t>
            </a:fld>
            <a:endParaRPr lang="en-US" dirty="0">
              <a:solidFill>
                <a:schemeClr val="tx1"/>
              </a:solidFill>
              <a:latin typeface="EYInterstate Light" panose="02000506000000020004" pitchFamily="2" charset="0"/>
            </a:endParaRPr>
          </a:p>
        </p:txBody>
      </p:sp>
      <p:sp>
        <p:nvSpPr>
          <p:cNvPr id="12" name="Pentagon 11">
            <a:extLst>
              <a:ext uri="{FF2B5EF4-FFF2-40B4-BE49-F238E27FC236}">
                <a16:creationId xmlns:a16="http://schemas.microsoft.com/office/drawing/2014/main" id="{8A782AA3-BE05-811A-7B02-28E8850F6417}"/>
              </a:ext>
            </a:extLst>
          </p:cNvPr>
          <p:cNvSpPr/>
          <p:nvPr/>
        </p:nvSpPr>
        <p:spPr>
          <a:xfrm>
            <a:off x="617221" y="2784757"/>
            <a:ext cx="3681754" cy="276502"/>
          </a:xfrm>
          <a:prstGeom prst="homePlate">
            <a:avLst/>
          </a:prstGeom>
          <a:solidFill>
            <a:srgbClr val="D2D2DA"/>
          </a:solidFill>
          <a:ln w="12700" cap="sq" cmpd="sng" algn="ctr">
            <a:solidFill>
              <a:schemeClr val="bg1"/>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nl-NL" sz="1800" b="0" i="0" u="none" strike="noStrike" kern="0" cap="none" spc="0" normalizeH="0" baseline="0" noProof="0">
              <a:ln>
                <a:noFill/>
              </a:ln>
              <a:solidFill>
                <a:schemeClr val="bg1"/>
              </a:solidFill>
              <a:effectLst/>
              <a:uLnTx/>
              <a:uFillTx/>
            </a:endParaRPr>
          </a:p>
        </p:txBody>
      </p:sp>
      <p:sp>
        <p:nvSpPr>
          <p:cNvPr id="13" name="Chevron 12">
            <a:extLst>
              <a:ext uri="{FF2B5EF4-FFF2-40B4-BE49-F238E27FC236}">
                <a16:creationId xmlns:a16="http://schemas.microsoft.com/office/drawing/2014/main" id="{CCBEB577-23EC-00B0-B0CF-34F721601D2F}"/>
              </a:ext>
            </a:extLst>
          </p:cNvPr>
          <p:cNvSpPr/>
          <p:nvPr/>
        </p:nvSpPr>
        <p:spPr>
          <a:xfrm>
            <a:off x="4266663" y="2780928"/>
            <a:ext cx="3681754" cy="276502"/>
          </a:xfrm>
          <a:prstGeom prst="chevron">
            <a:avLst/>
          </a:prstGeom>
          <a:solidFill>
            <a:schemeClr val="tx1">
              <a:lumMod val="95000"/>
            </a:schemeClr>
          </a:solidFill>
          <a:ln w="12700" cap="sq" cmpd="sng" algn="ctr">
            <a:solidFill>
              <a:schemeClr val="bg1"/>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nl-NL" sz="1800" b="0" i="0" u="none" strike="noStrike" kern="0" cap="none" spc="0" normalizeH="0" baseline="0" noProof="0">
              <a:ln>
                <a:noFill/>
              </a:ln>
              <a:solidFill>
                <a:schemeClr val="bg1"/>
              </a:solidFill>
              <a:effectLst/>
              <a:uLnTx/>
              <a:uFillTx/>
            </a:endParaRPr>
          </a:p>
        </p:txBody>
      </p:sp>
      <p:sp>
        <p:nvSpPr>
          <p:cNvPr id="14" name="Chevron 13">
            <a:extLst>
              <a:ext uri="{FF2B5EF4-FFF2-40B4-BE49-F238E27FC236}">
                <a16:creationId xmlns:a16="http://schemas.microsoft.com/office/drawing/2014/main" id="{0F9DAC86-BEFB-ADEE-3A4E-5F3DA5BD4513}"/>
              </a:ext>
            </a:extLst>
          </p:cNvPr>
          <p:cNvSpPr/>
          <p:nvPr/>
        </p:nvSpPr>
        <p:spPr>
          <a:xfrm>
            <a:off x="7916104" y="2777099"/>
            <a:ext cx="3681754" cy="276502"/>
          </a:xfrm>
          <a:prstGeom prst="chevron">
            <a:avLst/>
          </a:prstGeom>
          <a:solidFill>
            <a:srgbClr val="C4C4CD"/>
          </a:solidFill>
          <a:ln w="12700" cap="sq" cmpd="sng" algn="ctr">
            <a:solidFill>
              <a:schemeClr val="bg1"/>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nl-NL" sz="1800" b="0" i="0" u="none" strike="noStrike" kern="0" cap="none" spc="0" normalizeH="0" baseline="0" noProof="0">
              <a:ln>
                <a:noFill/>
              </a:ln>
              <a:effectLst/>
              <a:uLnTx/>
              <a:uFillTx/>
            </a:endParaRPr>
          </a:p>
        </p:txBody>
      </p:sp>
      <p:sp>
        <p:nvSpPr>
          <p:cNvPr id="15" name="White_Text box_6382424957723906510">
            <a:extLst>
              <a:ext uri="{FF2B5EF4-FFF2-40B4-BE49-F238E27FC236}">
                <a16:creationId xmlns:a16="http://schemas.microsoft.com/office/drawing/2014/main" id="{E5EDA428-92AC-9B26-BE57-51ADE8049D0D}"/>
              </a:ext>
            </a:extLst>
          </p:cNvPr>
          <p:cNvSpPr/>
          <p:nvPr>
            <p:custDataLst>
              <p:tags r:id="rId1"/>
            </p:custDataLst>
          </p:nvPr>
        </p:nvSpPr>
        <p:spPr>
          <a:xfrm>
            <a:off x="1280287" y="2840264"/>
            <a:ext cx="1944215" cy="161583"/>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FFFFFF">
                    <a:alpha val="0"/>
                  </a:srgb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nl-NL" sz="1050" dirty="0">
                <a:solidFill>
                  <a:schemeClr val="bg1"/>
                </a:solidFill>
              </a:rPr>
              <a:t>Transaction origination</a:t>
            </a:r>
            <a:endParaRPr kumimoji="0" lang="en-US" sz="105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16" name="White_Text box_6382424957723906510">
            <a:extLst>
              <a:ext uri="{FF2B5EF4-FFF2-40B4-BE49-F238E27FC236}">
                <a16:creationId xmlns:a16="http://schemas.microsoft.com/office/drawing/2014/main" id="{42CD4AAD-15FF-A72C-0C2C-348120942C64}"/>
              </a:ext>
            </a:extLst>
          </p:cNvPr>
          <p:cNvSpPr/>
          <p:nvPr>
            <p:custDataLst>
              <p:tags r:id="rId2"/>
            </p:custDataLst>
          </p:nvPr>
        </p:nvSpPr>
        <p:spPr>
          <a:xfrm>
            <a:off x="5027381" y="2839303"/>
            <a:ext cx="1944215" cy="161583"/>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FFFFFF">
                    <a:alpha val="0"/>
                  </a:srgb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nl-NL" sz="1050" dirty="0">
                <a:solidFill>
                  <a:schemeClr val="bg1"/>
                </a:solidFill>
              </a:rPr>
              <a:t>Node validation</a:t>
            </a:r>
            <a:endParaRPr kumimoji="0" lang="en-US" sz="105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17" name="White_Text box_6382424957723906510">
            <a:extLst>
              <a:ext uri="{FF2B5EF4-FFF2-40B4-BE49-F238E27FC236}">
                <a16:creationId xmlns:a16="http://schemas.microsoft.com/office/drawing/2014/main" id="{A1A93D42-8DC5-1EA0-F168-4B4DE9974DCD}"/>
              </a:ext>
            </a:extLst>
          </p:cNvPr>
          <p:cNvSpPr/>
          <p:nvPr>
            <p:custDataLst>
              <p:tags r:id="rId3"/>
            </p:custDataLst>
          </p:nvPr>
        </p:nvSpPr>
        <p:spPr>
          <a:xfrm>
            <a:off x="8755720" y="2833028"/>
            <a:ext cx="1944215" cy="161583"/>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FFFFFF">
                    <a:alpha val="0"/>
                  </a:srgb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nl-NL" sz="1050" dirty="0">
                <a:solidFill>
                  <a:schemeClr val="bg1"/>
                </a:solidFill>
              </a:rPr>
              <a:t>Blockchain formulation</a:t>
            </a:r>
            <a:endParaRPr kumimoji="0" lang="en-US" sz="105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18" name="White_Bulleted list_6382424976837249811">
            <a:extLst>
              <a:ext uri="{FF2B5EF4-FFF2-40B4-BE49-F238E27FC236}">
                <a16:creationId xmlns:a16="http://schemas.microsoft.com/office/drawing/2014/main" id="{AB01BABA-9397-2CDD-EA20-EE32804D097D}"/>
              </a:ext>
            </a:extLst>
          </p:cNvPr>
          <p:cNvSpPr/>
          <p:nvPr>
            <p:custDataLst>
              <p:tags r:id="rId4"/>
            </p:custDataLst>
          </p:nvPr>
        </p:nvSpPr>
        <p:spPr>
          <a:xfrm>
            <a:off x="4345907" y="3203696"/>
            <a:ext cx="3454479" cy="615553"/>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FFFFFF">
                    <a:alpha val="0"/>
                  </a:srgbClr>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Transaction data, including sender and recipient’s public keys, is distributed across the network</a:t>
            </a:r>
          </a:p>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If a majority of nodes verify the transaction as legitimate, transaction data is packaged into a block</a:t>
            </a:r>
          </a:p>
        </p:txBody>
      </p:sp>
      <p:sp>
        <p:nvSpPr>
          <p:cNvPr id="19" name="White_Bulleted list_63761077292064149234">
            <a:extLst>
              <a:ext uri="{FF2B5EF4-FFF2-40B4-BE49-F238E27FC236}">
                <a16:creationId xmlns:a16="http://schemas.microsoft.com/office/drawing/2014/main" id="{7CA72FA7-A969-48C2-DA87-3B1A06A6044B}"/>
              </a:ext>
            </a:extLst>
          </p:cNvPr>
          <p:cNvSpPr/>
          <p:nvPr>
            <p:custDataLst>
              <p:tags r:id="rId5"/>
            </p:custDataLst>
          </p:nvPr>
        </p:nvSpPr>
        <p:spPr>
          <a:xfrm>
            <a:off x="643507" y="3196630"/>
            <a:ext cx="3368835" cy="615553"/>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FFFFFF">
                    <a:alpha val="0"/>
                  </a:srgbClr>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User initiates transaction</a:t>
            </a:r>
          </a:p>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User uses keys to verify identity</a:t>
            </a:r>
          </a:p>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The transaction is digitally signed to provide immutability</a:t>
            </a:r>
          </a:p>
        </p:txBody>
      </p:sp>
      <p:sp>
        <p:nvSpPr>
          <p:cNvPr id="20" name="White_Bulleted list_63761077292064149234">
            <a:extLst>
              <a:ext uri="{FF2B5EF4-FFF2-40B4-BE49-F238E27FC236}">
                <a16:creationId xmlns:a16="http://schemas.microsoft.com/office/drawing/2014/main" id="{FA245DFC-770C-AEC7-474E-DF299AFD3C1D}"/>
              </a:ext>
            </a:extLst>
          </p:cNvPr>
          <p:cNvSpPr/>
          <p:nvPr>
            <p:custDataLst>
              <p:tags r:id="rId6"/>
            </p:custDataLst>
          </p:nvPr>
        </p:nvSpPr>
        <p:spPr>
          <a:xfrm>
            <a:off x="7954728" y="3203696"/>
            <a:ext cx="3454479" cy="615553"/>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FFFFFF">
                    <a:alpha val="0"/>
                  </a:srgbClr>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Block is hashed and added to the chain using a predetermined consensus protocol</a:t>
            </a:r>
          </a:p>
          <a:p>
            <a:pPr marL="152400" indent="-152400">
              <a:buSzPct val="75000"/>
              <a:buFont typeface="Arial" panose="020B0604020202020204" pitchFamily="34" charset="0"/>
              <a:buChar char="►"/>
            </a:pPr>
            <a:r>
              <a:rPr kumimoji="0" lang="en-US" sz="1000" u="none" strike="noStrike" kern="0" cap="none" spc="0" normalizeH="0" baseline="0" noProof="0" dirty="0">
                <a:ln>
                  <a:noFill/>
                </a:ln>
                <a:solidFill>
                  <a:schemeClr val="bg1"/>
                </a:solidFill>
                <a:effectLst/>
                <a:uLnTx/>
                <a:uFillTx/>
                <a:latin typeface="EYInterstate Light" panose="02000506000000020004" pitchFamily="2" charset="0"/>
              </a:rPr>
              <a:t>All node ledgers are updated to include new block in the chain</a:t>
            </a:r>
          </a:p>
        </p:txBody>
      </p:sp>
      <p:pic>
        <p:nvPicPr>
          <p:cNvPr id="28" name="Graphic 27" descr="List outline">
            <a:extLst>
              <a:ext uri="{FF2B5EF4-FFF2-40B4-BE49-F238E27FC236}">
                <a16:creationId xmlns:a16="http://schemas.microsoft.com/office/drawing/2014/main" id="{DADA4AE6-20EC-1EC8-2391-AA36E3BB73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47410" y="3889645"/>
            <a:ext cx="548640" cy="548640"/>
          </a:xfrm>
          <a:prstGeom prst="rect">
            <a:avLst/>
          </a:prstGeom>
        </p:spPr>
      </p:pic>
      <p:pic>
        <p:nvPicPr>
          <p:cNvPr id="29" name="Graphic 28" descr="List outline">
            <a:extLst>
              <a:ext uri="{FF2B5EF4-FFF2-40B4-BE49-F238E27FC236}">
                <a16:creationId xmlns:a16="http://schemas.microsoft.com/office/drawing/2014/main" id="{6C33A853-E131-5F26-C28D-828F68D972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47410" y="4720028"/>
            <a:ext cx="548640" cy="548640"/>
          </a:xfrm>
          <a:prstGeom prst="rect">
            <a:avLst/>
          </a:prstGeom>
        </p:spPr>
      </p:pic>
      <p:pic>
        <p:nvPicPr>
          <p:cNvPr id="30" name="Graphic 29" descr="List outline">
            <a:extLst>
              <a:ext uri="{FF2B5EF4-FFF2-40B4-BE49-F238E27FC236}">
                <a16:creationId xmlns:a16="http://schemas.microsoft.com/office/drawing/2014/main" id="{38D90C87-7276-DF55-3F18-58A17BD6D3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47410" y="5536991"/>
            <a:ext cx="548640" cy="548640"/>
          </a:xfrm>
          <a:prstGeom prst="rect">
            <a:avLst/>
          </a:prstGeom>
        </p:spPr>
      </p:pic>
      <p:pic>
        <p:nvPicPr>
          <p:cNvPr id="50" name="Graphic 49" descr="Envelope outline">
            <a:extLst>
              <a:ext uri="{FF2B5EF4-FFF2-40B4-BE49-F238E27FC236}">
                <a16:creationId xmlns:a16="http://schemas.microsoft.com/office/drawing/2014/main" id="{8B7C1811-615F-1483-BF80-A5CFB550D9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85706" y="4719386"/>
            <a:ext cx="548640" cy="548640"/>
          </a:xfrm>
          <a:prstGeom prst="rect">
            <a:avLst/>
          </a:prstGeom>
        </p:spPr>
      </p:pic>
      <p:cxnSp>
        <p:nvCxnSpPr>
          <p:cNvPr id="52" name="Straight Arrow Connector 51">
            <a:extLst>
              <a:ext uri="{FF2B5EF4-FFF2-40B4-BE49-F238E27FC236}">
                <a16:creationId xmlns:a16="http://schemas.microsoft.com/office/drawing/2014/main" id="{AF5821B6-F7ED-6F09-46FE-C1A868F19DDA}"/>
              </a:ext>
            </a:extLst>
          </p:cNvPr>
          <p:cNvCxnSpPr>
            <a:cxnSpLocks/>
            <a:stCxn id="76" idx="3"/>
            <a:endCxn id="50" idx="1"/>
          </p:cNvCxnSpPr>
          <p:nvPr/>
        </p:nvCxnSpPr>
        <p:spPr>
          <a:xfrm flipV="1">
            <a:off x="1869552" y="4993706"/>
            <a:ext cx="516154" cy="7085"/>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cxnSp>
        <p:nvCxnSpPr>
          <p:cNvPr id="55" name="Straight Arrow Connector 54">
            <a:extLst>
              <a:ext uri="{FF2B5EF4-FFF2-40B4-BE49-F238E27FC236}">
                <a16:creationId xmlns:a16="http://schemas.microsoft.com/office/drawing/2014/main" id="{FA85863F-5CEA-A4A9-2F45-7A9BE33A8BA8}"/>
              </a:ext>
            </a:extLst>
          </p:cNvPr>
          <p:cNvCxnSpPr>
            <a:cxnSpLocks/>
            <a:stCxn id="50" idx="3"/>
            <a:endCxn id="73" idx="1"/>
          </p:cNvCxnSpPr>
          <p:nvPr/>
        </p:nvCxnSpPr>
        <p:spPr>
          <a:xfrm flipV="1">
            <a:off x="2934346" y="4163966"/>
            <a:ext cx="2016383" cy="829740"/>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cxnSp>
        <p:nvCxnSpPr>
          <p:cNvPr id="60" name="Straight Arrow Connector 59">
            <a:extLst>
              <a:ext uri="{FF2B5EF4-FFF2-40B4-BE49-F238E27FC236}">
                <a16:creationId xmlns:a16="http://schemas.microsoft.com/office/drawing/2014/main" id="{7C9C8325-A94C-EE4B-CD17-909C73991BC5}"/>
              </a:ext>
            </a:extLst>
          </p:cNvPr>
          <p:cNvCxnSpPr>
            <a:cxnSpLocks/>
            <a:stCxn id="50" idx="3"/>
            <a:endCxn id="74" idx="1"/>
          </p:cNvCxnSpPr>
          <p:nvPr/>
        </p:nvCxnSpPr>
        <p:spPr>
          <a:xfrm>
            <a:off x="2934346" y="4993706"/>
            <a:ext cx="2016383" cy="642"/>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7BB1A720-632B-832F-9739-582AEB1993A1}"/>
              </a:ext>
            </a:extLst>
          </p:cNvPr>
          <p:cNvCxnSpPr>
            <a:cxnSpLocks/>
            <a:stCxn id="50" idx="3"/>
            <a:endCxn id="75" idx="1"/>
          </p:cNvCxnSpPr>
          <p:nvPr/>
        </p:nvCxnSpPr>
        <p:spPr>
          <a:xfrm>
            <a:off x="2934346" y="4993706"/>
            <a:ext cx="2016382" cy="821977"/>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pic>
        <p:nvPicPr>
          <p:cNvPr id="73" name="Graphic 72" descr="Computer outline">
            <a:extLst>
              <a:ext uri="{FF2B5EF4-FFF2-40B4-BE49-F238E27FC236}">
                <a16:creationId xmlns:a16="http://schemas.microsoft.com/office/drawing/2014/main" id="{6D3D0AE2-14AE-EA3B-D4E0-0AED93310D5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50729" y="3845326"/>
            <a:ext cx="637279" cy="637279"/>
          </a:xfrm>
          <a:prstGeom prst="rect">
            <a:avLst/>
          </a:prstGeom>
        </p:spPr>
      </p:pic>
      <p:pic>
        <p:nvPicPr>
          <p:cNvPr id="74" name="Graphic 73" descr="Computer outline">
            <a:extLst>
              <a:ext uri="{FF2B5EF4-FFF2-40B4-BE49-F238E27FC236}">
                <a16:creationId xmlns:a16="http://schemas.microsoft.com/office/drawing/2014/main" id="{9DBDEA9D-8AC8-CF2B-3EBF-FBE9A06CE4E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50729" y="4675708"/>
            <a:ext cx="637279" cy="637279"/>
          </a:xfrm>
          <a:prstGeom prst="rect">
            <a:avLst/>
          </a:prstGeom>
        </p:spPr>
      </p:pic>
      <p:pic>
        <p:nvPicPr>
          <p:cNvPr id="75" name="Graphic 74" descr="Computer outline">
            <a:extLst>
              <a:ext uri="{FF2B5EF4-FFF2-40B4-BE49-F238E27FC236}">
                <a16:creationId xmlns:a16="http://schemas.microsoft.com/office/drawing/2014/main" id="{486A98D2-7CAD-5455-65A6-7A5858FAB8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50728" y="5497043"/>
            <a:ext cx="637279" cy="637279"/>
          </a:xfrm>
          <a:prstGeom prst="rect">
            <a:avLst/>
          </a:prstGeom>
        </p:spPr>
      </p:pic>
      <p:pic>
        <p:nvPicPr>
          <p:cNvPr id="76" name="Graphic 75" descr="Computer outline">
            <a:extLst>
              <a:ext uri="{FF2B5EF4-FFF2-40B4-BE49-F238E27FC236}">
                <a16:creationId xmlns:a16="http://schemas.microsoft.com/office/drawing/2014/main" id="{9FF42414-D769-57F7-66DB-45463D51921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96673" y="4664351"/>
            <a:ext cx="672879" cy="672879"/>
          </a:xfrm>
          <a:prstGeom prst="rect">
            <a:avLst/>
          </a:prstGeom>
        </p:spPr>
      </p:pic>
      <p:cxnSp>
        <p:nvCxnSpPr>
          <p:cNvPr id="87" name="Straight Arrow Connector 86">
            <a:extLst>
              <a:ext uri="{FF2B5EF4-FFF2-40B4-BE49-F238E27FC236}">
                <a16:creationId xmlns:a16="http://schemas.microsoft.com/office/drawing/2014/main" id="{FA4B5542-B624-9A16-5770-CA19387D617F}"/>
              </a:ext>
            </a:extLst>
          </p:cNvPr>
          <p:cNvCxnSpPr>
            <a:cxnSpLocks/>
            <a:stCxn id="74" idx="2"/>
            <a:endCxn id="75" idx="0"/>
          </p:cNvCxnSpPr>
          <p:nvPr/>
        </p:nvCxnSpPr>
        <p:spPr>
          <a:xfrm flipH="1">
            <a:off x="5269368" y="5312987"/>
            <a:ext cx="1" cy="184056"/>
          </a:xfrm>
          <a:prstGeom prst="straightConnector1">
            <a:avLst/>
          </a:prstGeom>
          <a:ln>
            <a:headEnd type="triangle"/>
            <a:tailEnd type="triangle"/>
          </a:ln>
        </p:spPr>
        <p:style>
          <a:lnRef idx="2">
            <a:schemeClr val="dk1">
              <a:shade val="50000"/>
            </a:schemeClr>
          </a:lnRef>
          <a:fillRef idx="1">
            <a:schemeClr val="dk1"/>
          </a:fillRef>
          <a:effectRef idx="0">
            <a:schemeClr val="dk1"/>
          </a:effectRef>
          <a:fontRef idx="minor">
            <a:schemeClr val="lt1"/>
          </a:fontRef>
        </p:style>
      </p:cxnSp>
      <p:cxnSp>
        <p:nvCxnSpPr>
          <p:cNvPr id="89" name="Straight Arrow Connector 88">
            <a:extLst>
              <a:ext uri="{FF2B5EF4-FFF2-40B4-BE49-F238E27FC236}">
                <a16:creationId xmlns:a16="http://schemas.microsoft.com/office/drawing/2014/main" id="{7D9C2E16-CEAA-F8CC-BBB7-212626EC62D7}"/>
              </a:ext>
            </a:extLst>
          </p:cNvPr>
          <p:cNvCxnSpPr>
            <a:cxnSpLocks/>
            <a:stCxn id="30" idx="1"/>
            <a:endCxn id="75" idx="3"/>
          </p:cNvCxnSpPr>
          <p:nvPr/>
        </p:nvCxnSpPr>
        <p:spPr>
          <a:xfrm flipH="1">
            <a:off x="5588007" y="5811311"/>
            <a:ext cx="359403" cy="4372"/>
          </a:xfrm>
          <a:prstGeom prst="straightConnector1">
            <a:avLst/>
          </a:prstGeom>
          <a:ln>
            <a:headEnd type="triangle"/>
            <a:tailEnd type="triangle"/>
          </a:ln>
        </p:spPr>
        <p:style>
          <a:lnRef idx="2">
            <a:schemeClr val="dk1">
              <a:shade val="50000"/>
            </a:schemeClr>
          </a:lnRef>
          <a:fillRef idx="1">
            <a:schemeClr val="dk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32413FB6-1D8D-2E05-A617-680C1E566CB9}"/>
              </a:ext>
            </a:extLst>
          </p:cNvPr>
          <p:cNvCxnSpPr>
            <a:cxnSpLocks/>
            <a:stCxn id="73" idx="2"/>
            <a:endCxn id="74" idx="0"/>
          </p:cNvCxnSpPr>
          <p:nvPr/>
        </p:nvCxnSpPr>
        <p:spPr>
          <a:xfrm>
            <a:off x="5269369" y="4482605"/>
            <a:ext cx="0" cy="193103"/>
          </a:xfrm>
          <a:prstGeom prst="straightConnector1">
            <a:avLst/>
          </a:prstGeom>
          <a:ln>
            <a:headEnd type="triangle"/>
            <a:tailEnd type="triangle"/>
          </a:ln>
        </p:spPr>
        <p:style>
          <a:lnRef idx="2">
            <a:schemeClr val="dk1">
              <a:shade val="50000"/>
            </a:schemeClr>
          </a:lnRef>
          <a:fillRef idx="1">
            <a:schemeClr val="dk1"/>
          </a:fillRef>
          <a:effectRef idx="0">
            <a:schemeClr val="dk1"/>
          </a:effectRef>
          <a:fontRef idx="minor">
            <a:schemeClr val="lt1"/>
          </a:fontRef>
        </p:style>
      </p:cxnSp>
      <p:cxnSp>
        <p:nvCxnSpPr>
          <p:cNvPr id="107" name="Straight Arrow Connector 106">
            <a:extLst>
              <a:ext uri="{FF2B5EF4-FFF2-40B4-BE49-F238E27FC236}">
                <a16:creationId xmlns:a16="http://schemas.microsoft.com/office/drawing/2014/main" id="{F5C47789-08D0-FB62-1A53-DE1E4FA7C02B}"/>
              </a:ext>
            </a:extLst>
          </p:cNvPr>
          <p:cNvCxnSpPr>
            <a:cxnSpLocks/>
            <a:stCxn id="28" idx="1"/>
            <a:endCxn id="73" idx="3"/>
          </p:cNvCxnSpPr>
          <p:nvPr/>
        </p:nvCxnSpPr>
        <p:spPr>
          <a:xfrm flipH="1">
            <a:off x="5588008" y="4163965"/>
            <a:ext cx="359402" cy="1"/>
          </a:xfrm>
          <a:prstGeom prst="straightConnector1">
            <a:avLst/>
          </a:prstGeom>
          <a:ln>
            <a:headEnd type="triangle"/>
            <a:tailEnd type="triangle"/>
          </a:ln>
        </p:spPr>
        <p:style>
          <a:lnRef idx="2">
            <a:schemeClr val="dk1">
              <a:shade val="50000"/>
            </a:schemeClr>
          </a:lnRef>
          <a:fillRef idx="1">
            <a:schemeClr val="dk1"/>
          </a:fillRef>
          <a:effectRef idx="0">
            <a:schemeClr val="dk1"/>
          </a:effectRef>
          <a:fontRef idx="minor">
            <a:schemeClr val="lt1"/>
          </a:fontRef>
        </p:style>
      </p:cxnSp>
      <p:cxnSp>
        <p:nvCxnSpPr>
          <p:cNvPr id="108" name="Straight Arrow Connector 107">
            <a:extLst>
              <a:ext uri="{FF2B5EF4-FFF2-40B4-BE49-F238E27FC236}">
                <a16:creationId xmlns:a16="http://schemas.microsoft.com/office/drawing/2014/main" id="{2ECAC856-FFBD-5113-0440-25CAE51B86FD}"/>
              </a:ext>
            </a:extLst>
          </p:cNvPr>
          <p:cNvCxnSpPr>
            <a:cxnSpLocks/>
            <a:stCxn id="29" idx="1"/>
            <a:endCxn id="74" idx="3"/>
          </p:cNvCxnSpPr>
          <p:nvPr/>
        </p:nvCxnSpPr>
        <p:spPr>
          <a:xfrm flipH="1">
            <a:off x="5588008" y="4994348"/>
            <a:ext cx="359402" cy="0"/>
          </a:xfrm>
          <a:prstGeom prst="straightConnector1">
            <a:avLst/>
          </a:prstGeom>
          <a:ln>
            <a:headEnd type="triangle"/>
            <a:tailEnd type="triangle"/>
          </a:ln>
        </p:spPr>
        <p:style>
          <a:lnRef idx="2">
            <a:schemeClr val="dk1">
              <a:shade val="50000"/>
            </a:schemeClr>
          </a:lnRef>
          <a:fillRef idx="1">
            <a:schemeClr val="dk1"/>
          </a:fillRef>
          <a:effectRef idx="0">
            <a:schemeClr val="dk1"/>
          </a:effectRef>
          <a:fontRef idx="minor">
            <a:schemeClr val="lt1"/>
          </a:fontRef>
        </p:style>
      </p:cxnSp>
      <p:pic>
        <p:nvPicPr>
          <p:cNvPr id="144" name="Graphic 143" descr="Packing Box Open outline">
            <a:extLst>
              <a:ext uri="{FF2B5EF4-FFF2-40B4-BE49-F238E27FC236}">
                <a16:creationId xmlns:a16="http://schemas.microsoft.com/office/drawing/2014/main" id="{65571CB3-734A-F618-51B2-BD984EB6205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65625" y="4793347"/>
            <a:ext cx="443827" cy="443827"/>
          </a:xfrm>
          <a:prstGeom prst="rect">
            <a:avLst/>
          </a:prstGeom>
        </p:spPr>
      </p:pic>
      <p:pic>
        <p:nvPicPr>
          <p:cNvPr id="145" name="Graphic 144" descr="Packing Box Open outline">
            <a:extLst>
              <a:ext uri="{FF2B5EF4-FFF2-40B4-BE49-F238E27FC236}">
                <a16:creationId xmlns:a16="http://schemas.microsoft.com/office/drawing/2014/main" id="{365476F3-97F6-2707-D2CC-D10B3FD4FE0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103451" y="4816460"/>
            <a:ext cx="443827" cy="443827"/>
          </a:xfrm>
          <a:prstGeom prst="rect">
            <a:avLst/>
          </a:prstGeom>
        </p:spPr>
      </p:pic>
      <p:pic>
        <p:nvPicPr>
          <p:cNvPr id="146" name="Graphic 145" descr="Packing Box Open outline">
            <a:extLst>
              <a:ext uri="{FF2B5EF4-FFF2-40B4-BE49-F238E27FC236}">
                <a16:creationId xmlns:a16="http://schemas.microsoft.com/office/drawing/2014/main" id="{D02F86DB-C573-EBDB-AE2D-1D1877360D8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841279" y="4824182"/>
            <a:ext cx="443827" cy="443827"/>
          </a:xfrm>
          <a:prstGeom prst="rect">
            <a:avLst/>
          </a:prstGeom>
        </p:spPr>
      </p:pic>
      <p:cxnSp>
        <p:nvCxnSpPr>
          <p:cNvPr id="147" name="Straight Arrow Connector 146">
            <a:extLst>
              <a:ext uri="{FF2B5EF4-FFF2-40B4-BE49-F238E27FC236}">
                <a16:creationId xmlns:a16="http://schemas.microsoft.com/office/drawing/2014/main" id="{963A2644-DEB0-6347-BA5D-10C11B6D7CE2}"/>
              </a:ext>
            </a:extLst>
          </p:cNvPr>
          <p:cNvCxnSpPr>
            <a:cxnSpLocks/>
            <a:stCxn id="28" idx="3"/>
            <a:endCxn id="144" idx="1"/>
          </p:cNvCxnSpPr>
          <p:nvPr/>
        </p:nvCxnSpPr>
        <p:spPr>
          <a:xfrm>
            <a:off x="6496050" y="4163965"/>
            <a:ext cx="1869575" cy="851296"/>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cxnSp>
        <p:nvCxnSpPr>
          <p:cNvPr id="150" name="Straight Arrow Connector 149">
            <a:extLst>
              <a:ext uri="{FF2B5EF4-FFF2-40B4-BE49-F238E27FC236}">
                <a16:creationId xmlns:a16="http://schemas.microsoft.com/office/drawing/2014/main" id="{763792A5-D66B-564E-CDB8-99AAD5593A3F}"/>
              </a:ext>
            </a:extLst>
          </p:cNvPr>
          <p:cNvCxnSpPr>
            <a:cxnSpLocks/>
          </p:cNvCxnSpPr>
          <p:nvPr/>
        </p:nvCxnSpPr>
        <p:spPr>
          <a:xfrm>
            <a:off x="6496050" y="4972793"/>
            <a:ext cx="1869575" cy="20913"/>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cxnSp>
        <p:nvCxnSpPr>
          <p:cNvPr id="153" name="Straight Arrow Connector 152">
            <a:extLst>
              <a:ext uri="{FF2B5EF4-FFF2-40B4-BE49-F238E27FC236}">
                <a16:creationId xmlns:a16="http://schemas.microsoft.com/office/drawing/2014/main" id="{4876D85F-AD08-BDBB-9C83-529BBDFF124D}"/>
              </a:ext>
            </a:extLst>
          </p:cNvPr>
          <p:cNvCxnSpPr>
            <a:cxnSpLocks/>
            <a:stCxn id="30" idx="3"/>
            <a:endCxn id="144" idx="1"/>
          </p:cNvCxnSpPr>
          <p:nvPr/>
        </p:nvCxnSpPr>
        <p:spPr>
          <a:xfrm flipV="1">
            <a:off x="6496050" y="5015261"/>
            <a:ext cx="1869575" cy="796050"/>
          </a:xfrm>
          <a:prstGeom prst="straightConnector1">
            <a:avLst/>
          </a:prstGeom>
          <a:ln>
            <a:tailEnd type="triangle"/>
          </a:ln>
        </p:spPr>
        <p:style>
          <a:lnRef idx="2">
            <a:schemeClr val="dk1">
              <a:shade val="50000"/>
            </a:schemeClr>
          </a:lnRef>
          <a:fillRef idx="1">
            <a:schemeClr val="dk1"/>
          </a:fillRef>
          <a:effectRef idx="0">
            <a:schemeClr val="dk1"/>
          </a:effectRef>
          <a:fontRef idx="minor">
            <a:schemeClr val="lt1"/>
          </a:fontRef>
        </p:style>
      </p:cxnSp>
      <p:pic>
        <p:nvPicPr>
          <p:cNvPr id="165" name="Graphic 164" descr="Link outline">
            <a:extLst>
              <a:ext uri="{FF2B5EF4-FFF2-40B4-BE49-F238E27FC236}">
                <a16:creationId xmlns:a16="http://schemas.microsoft.com/office/drawing/2014/main" id="{6AFB541C-58C0-D5B9-056C-260A4521D47F}"/>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8840546">
            <a:off x="8789808" y="4894219"/>
            <a:ext cx="333287" cy="333287"/>
          </a:xfrm>
          <a:prstGeom prst="rect">
            <a:avLst/>
          </a:prstGeom>
        </p:spPr>
      </p:pic>
      <p:pic>
        <p:nvPicPr>
          <p:cNvPr id="166" name="Graphic 165" descr="Link outline">
            <a:extLst>
              <a:ext uri="{FF2B5EF4-FFF2-40B4-BE49-F238E27FC236}">
                <a16:creationId xmlns:a16="http://schemas.microsoft.com/office/drawing/2014/main" id="{D2103E28-EC3E-3579-7D00-E40F4B69955A}"/>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8840546">
            <a:off x="9527635" y="4910710"/>
            <a:ext cx="333287" cy="333287"/>
          </a:xfrm>
          <a:prstGeom prst="rect">
            <a:avLst/>
          </a:prstGeom>
        </p:spPr>
      </p:pic>
      <p:pic>
        <p:nvPicPr>
          <p:cNvPr id="168" name="Graphic 167" descr="Packing Box Open outline">
            <a:extLst>
              <a:ext uri="{FF2B5EF4-FFF2-40B4-BE49-F238E27FC236}">
                <a16:creationId xmlns:a16="http://schemas.microsoft.com/office/drawing/2014/main" id="{B1E12FD3-799F-84CC-ED88-722D95E8F09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451315" y="4007490"/>
            <a:ext cx="861589" cy="861589"/>
          </a:xfrm>
          <a:prstGeom prst="rect">
            <a:avLst/>
          </a:prstGeom>
        </p:spPr>
      </p:pic>
      <p:sp>
        <p:nvSpPr>
          <p:cNvPr id="169" name="Rectangle 168">
            <a:extLst>
              <a:ext uri="{FF2B5EF4-FFF2-40B4-BE49-F238E27FC236}">
                <a16:creationId xmlns:a16="http://schemas.microsoft.com/office/drawing/2014/main" id="{DE7638C7-FBA3-9000-B9E1-381C68A4A93B}"/>
              </a:ext>
            </a:extLst>
          </p:cNvPr>
          <p:cNvSpPr/>
          <p:nvPr/>
        </p:nvSpPr>
        <p:spPr>
          <a:xfrm>
            <a:off x="10428674" y="4920962"/>
            <a:ext cx="906870" cy="803297"/>
          </a:xfrm>
          <a:prstGeom prst="rect">
            <a:avLst/>
          </a:prstGeom>
          <a:noFill/>
          <a:ln w="9525"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64008" rIns="0" b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Clr>
                <a:srgbClr val="000000"/>
              </a:buClr>
              <a:buSzPct val="100000"/>
              <a:buFont typeface=""/>
            </a:pPr>
            <a:r>
              <a:rPr lang="en-US" sz="800" dirty="0">
                <a:solidFill>
                  <a:schemeClr val="bg1"/>
                </a:solidFill>
                <a:latin typeface="EYInterstate Light" panose="02000506000000020004" pitchFamily="2" charset="0"/>
                <a:cs typeface="Arial" pitchFamily="34" charset="0"/>
              </a:rPr>
              <a:t>Contains:</a:t>
            </a:r>
          </a:p>
          <a:p>
            <a:pPr algn="ctr">
              <a:buClr>
                <a:srgbClr val="000000"/>
              </a:buClr>
              <a:buSzPct val="100000"/>
              <a:buFont typeface=""/>
            </a:pPr>
            <a:r>
              <a:rPr lang="en-US" sz="800" dirty="0">
                <a:solidFill>
                  <a:schemeClr val="bg1"/>
                </a:solidFill>
                <a:latin typeface="EYInterstate Light" panose="02000506000000020004" pitchFamily="2" charset="0"/>
                <a:cs typeface="Arial" pitchFamily="34" charset="0"/>
              </a:rPr>
              <a:t>- Hash of previous block</a:t>
            </a:r>
          </a:p>
          <a:p>
            <a:pPr algn="ctr">
              <a:buClr>
                <a:srgbClr val="000000"/>
              </a:buClr>
              <a:buSzPct val="100000"/>
              <a:buFont typeface=""/>
            </a:pPr>
            <a:r>
              <a:rPr lang="en-US" sz="800" dirty="0">
                <a:solidFill>
                  <a:schemeClr val="bg1"/>
                </a:solidFill>
                <a:latin typeface="EYInterstate Light" panose="02000506000000020004" pitchFamily="2" charset="0"/>
                <a:cs typeface="Arial" pitchFamily="34" charset="0"/>
              </a:rPr>
              <a:t>- Time stamp</a:t>
            </a:r>
          </a:p>
          <a:p>
            <a:pPr algn="ctr">
              <a:buClr>
                <a:srgbClr val="000000"/>
              </a:buClr>
              <a:buSzPct val="100000"/>
              <a:buFont typeface=""/>
            </a:pPr>
            <a:r>
              <a:rPr lang="en-US" sz="800" dirty="0">
                <a:solidFill>
                  <a:schemeClr val="bg1"/>
                </a:solidFill>
                <a:latin typeface="EYInterstate Light" panose="02000506000000020004" pitchFamily="2" charset="0"/>
                <a:cs typeface="Arial" pitchFamily="34" charset="0"/>
              </a:rPr>
              <a:t>- - Transaction data</a:t>
            </a:r>
          </a:p>
          <a:p>
            <a:pPr algn="ctr">
              <a:buClr>
                <a:srgbClr val="000000"/>
              </a:buClr>
              <a:buSzPct val="100000"/>
              <a:buFont typeface=""/>
            </a:pPr>
            <a:endParaRPr lang="en-US" sz="800" dirty="0">
              <a:solidFill>
                <a:schemeClr val="bg1"/>
              </a:solidFill>
              <a:latin typeface="EYInterstate Light" panose="02000506000000020004" pitchFamily="2" charset="0"/>
              <a:cs typeface="Arial" pitchFamily="34" charset="0"/>
            </a:endParaRPr>
          </a:p>
        </p:txBody>
      </p:sp>
      <p:pic>
        <p:nvPicPr>
          <p:cNvPr id="6" name="Picture 2" descr="NOREA | NOREA">
            <a:extLst>
              <a:ext uri="{FF2B5EF4-FFF2-40B4-BE49-F238E27FC236}">
                <a16:creationId xmlns:a16="http://schemas.microsoft.com/office/drawing/2014/main" id="{9B82476D-0AE5-0B54-2716-B7E7EA064F0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71669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7" name="Rectangle 897"/>
          <p:cNvSpPr/>
          <p:nvPr/>
        </p:nvSpPr>
        <p:spPr>
          <a:xfrm>
            <a:off x="612775" y="170701"/>
            <a:ext cx="3476914" cy="369653"/>
          </a:xfrm>
          <a:prstGeom prst="rect">
            <a:avLst/>
          </a:prstGeom>
        </p:spPr>
        <p:txBody>
          <a:bodyPr wrap="none" lIns="0" tIns="0" rIns="0" bIns="0">
            <a:spAutoFit/>
          </a:bodyPr>
          <a:lstStyle/>
          <a:p>
            <a:r>
              <a:rPr lang="en-US" sz="2402" dirty="0">
                <a:solidFill>
                  <a:schemeClr val="bg1"/>
                </a:solidFill>
                <a:latin typeface="Arial"/>
              </a:rPr>
              <a:t>Blockchain Risk Universe</a:t>
            </a:r>
          </a:p>
        </p:txBody>
      </p:sp>
      <p:sp>
        <p:nvSpPr>
          <p:cNvPr id="899" name="Rectangle 899"/>
          <p:cNvSpPr/>
          <p:nvPr/>
        </p:nvSpPr>
        <p:spPr>
          <a:xfrm>
            <a:off x="5376591" y="3362331"/>
            <a:ext cx="1372171" cy="1233799"/>
          </a:xfrm>
          <a:prstGeom prst="rect">
            <a:avLst/>
          </a:prstGeom>
        </p:spPr>
        <p:txBody>
          <a:bodyPr wrap="none" lIns="0" tIns="0" rIns="0" bIns="0">
            <a:spAutoFit/>
          </a:bodyPr>
          <a:lstStyle/>
          <a:p>
            <a:pPr algn="ctr"/>
            <a:r>
              <a:rPr lang="en-US" sz="2004" b="1" dirty="0">
                <a:latin typeface="EYInterstate-LightBold"/>
              </a:rPr>
              <a:t>Blockchain</a:t>
            </a:r>
          </a:p>
          <a:p>
            <a:pPr algn="ctr"/>
            <a:r>
              <a:rPr lang="en-US" sz="2004" b="1" dirty="0">
                <a:latin typeface="EYInterstate-LightBold"/>
              </a:rPr>
              <a:t>Risk</a:t>
            </a:r>
          </a:p>
          <a:p>
            <a:pPr algn="ctr"/>
            <a:r>
              <a:rPr lang="en-US" sz="2004" b="1" dirty="0">
                <a:latin typeface="EYInterstate-LightBold"/>
              </a:rPr>
              <a:t>Universe</a:t>
            </a:r>
          </a:p>
          <a:p>
            <a:pPr marL="382523" algn="ctr">
              <a:lnSpc>
                <a:spcPts val="2641"/>
              </a:lnSpc>
            </a:pPr>
            <a:endParaRPr lang="en-US" sz="2004" b="1" dirty="0">
              <a:solidFill>
                <a:srgbClr val="FFE600"/>
              </a:solidFill>
              <a:latin typeface="EYInterstate-LightBold"/>
            </a:endParaRPr>
          </a:p>
        </p:txBody>
      </p:sp>
      <p:sp>
        <p:nvSpPr>
          <p:cNvPr id="901" name="Rectangle 901"/>
          <p:cNvSpPr/>
          <p:nvPr/>
        </p:nvSpPr>
        <p:spPr>
          <a:xfrm>
            <a:off x="1434515" y="4693751"/>
            <a:ext cx="1815241"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Inappropriate usage of Hashing </a:t>
            </a:r>
          </a:p>
        </p:txBody>
      </p:sp>
      <p:sp>
        <p:nvSpPr>
          <p:cNvPr id="902" name="Rectangle 902"/>
          <p:cNvSpPr/>
          <p:nvPr/>
        </p:nvSpPr>
        <p:spPr>
          <a:xfrm>
            <a:off x="1434514" y="4830548"/>
            <a:ext cx="1520288" cy="270843"/>
          </a:xfrm>
          <a:prstGeom prst="rect">
            <a:avLst/>
          </a:prstGeom>
        </p:spPr>
        <p:txBody>
          <a:bodyPr wrap="none" lIns="0" tIns="0" rIns="0" bIns="0">
            <a:spAutoFit/>
          </a:bodyPr>
          <a:lstStyle/>
          <a:p>
            <a:pPr marL="172211"/>
            <a:r>
              <a:rPr lang="en-US" sz="902" dirty="0">
                <a:solidFill>
                  <a:schemeClr val="bg1"/>
                </a:solidFill>
                <a:latin typeface="EYInterstate-Light"/>
              </a:rPr>
              <a:t>power/resources</a:t>
            </a:r>
          </a:p>
          <a:p>
            <a:pPr>
              <a:lnSpc>
                <a:spcPts val="1091"/>
              </a:lnSpc>
              <a:tabLst>
                <a:tab pos="172211" algn="l"/>
              </a:tabLst>
            </a:pPr>
            <a:r>
              <a:rPr lang="en-US" sz="900" dirty="0">
                <a:solidFill>
                  <a:schemeClr val="bg1"/>
                </a:solidFill>
                <a:latin typeface="ArialMT"/>
              </a:rPr>
              <a:t>•	</a:t>
            </a:r>
            <a:r>
              <a:rPr lang="en-US" sz="900" dirty="0">
                <a:solidFill>
                  <a:schemeClr val="bg1"/>
                </a:solidFill>
                <a:latin typeface="EYInterstate-Light"/>
              </a:rPr>
              <a:t>Front-running transactions</a:t>
            </a:r>
          </a:p>
        </p:txBody>
      </p:sp>
      <p:sp>
        <p:nvSpPr>
          <p:cNvPr id="903" name="Rectangle 903"/>
          <p:cNvSpPr/>
          <p:nvPr/>
        </p:nvSpPr>
        <p:spPr>
          <a:xfrm>
            <a:off x="1434514" y="5105612"/>
            <a:ext cx="1321516"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Hash Collision Attacks</a:t>
            </a:r>
          </a:p>
        </p:txBody>
      </p:sp>
      <p:sp>
        <p:nvSpPr>
          <p:cNvPr id="904" name="Rectangle 904"/>
          <p:cNvSpPr/>
          <p:nvPr/>
        </p:nvSpPr>
        <p:spPr>
          <a:xfrm>
            <a:off x="1427530" y="4492633"/>
            <a:ext cx="1712007" cy="184666"/>
          </a:xfrm>
          <a:prstGeom prst="rect">
            <a:avLst/>
          </a:prstGeom>
        </p:spPr>
        <p:txBody>
          <a:bodyPr wrap="none" lIns="0" tIns="0" rIns="0" bIns="0">
            <a:spAutoFit/>
          </a:bodyPr>
          <a:lstStyle/>
          <a:p>
            <a:r>
              <a:rPr lang="en-US" sz="1200" b="1" dirty="0">
                <a:solidFill>
                  <a:schemeClr val="bg1"/>
                </a:solidFill>
                <a:latin typeface="EYInterstate-Bold"/>
              </a:rPr>
              <a:t>Centralization of Power</a:t>
            </a:r>
          </a:p>
        </p:txBody>
      </p:sp>
      <p:sp>
        <p:nvSpPr>
          <p:cNvPr id="905" name="Rectangle 905"/>
          <p:cNvSpPr/>
          <p:nvPr/>
        </p:nvSpPr>
        <p:spPr>
          <a:xfrm>
            <a:off x="843316" y="3413397"/>
            <a:ext cx="982641" cy="184666"/>
          </a:xfrm>
          <a:prstGeom prst="rect">
            <a:avLst/>
          </a:prstGeom>
        </p:spPr>
        <p:txBody>
          <a:bodyPr wrap="none" lIns="0" tIns="0" rIns="0" bIns="0">
            <a:spAutoFit/>
          </a:bodyPr>
          <a:lstStyle/>
          <a:p>
            <a:r>
              <a:rPr lang="en-US" sz="1200" b="1" dirty="0">
                <a:solidFill>
                  <a:schemeClr val="bg1"/>
                </a:solidFill>
                <a:latin typeface="EYInterstate-Bold"/>
              </a:rPr>
              <a:t>Data Integrity</a:t>
            </a:r>
          </a:p>
        </p:txBody>
      </p:sp>
      <p:sp>
        <p:nvSpPr>
          <p:cNvPr id="906" name="Rectangle 906"/>
          <p:cNvSpPr/>
          <p:nvPr/>
        </p:nvSpPr>
        <p:spPr>
          <a:xfrm>
            <a:off x="852078" y="3619975"/>
            <a:ext cx="2174313" cy="411588"/>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Unconfirmed and orphan transactions</a:t>
            </a:r>
          </a:p>
          <a:p>
            <a:pPr>
              <a:lnSpc>
                <a:spcPts val="1080"/>
              </a:lnSpc>
              <a:tabLst>
                <a:tab pos="172211" algn="l"/>
              </a:tabLst>
            </a:pPr>
            <a:r>
              <a:rPr lang="en-US" sz="900" dirty="0">
                <a:solidFill>
                  <a:schemeClr val="bg1"/>
                </a:solidFill>
                <a:latin typeface="ArialMT"/>
              </a:rPr>
              <a:t>•	</a:t>
            </a:r>
            <a:r>
              <a:rPr lang="en-US" sz="900" dirty="0">
                <a:solidFill>
                  <a:schemeClr val="bg1"/>
                </a:solidFill>
                <a:latin typeface="EYInterstate-Light"/>
              </a:rPr>
              <a:t>Manipulation of transaction timestamps</a:t>
            </a:r>
          </a:p>
          <a:p>
            <a:pPr>
              <a:lnSpc>
                <a:spcPts val="1080"/>
              </a:lnSpc>
              <a:tabLst>
                <a:tab pos="172211" algn="l"/>
              </a:tabLst>
            </a:pPr>
            <a:r>
              <a:rPr lang="en-US" sz="900" dirty="0">
                <a:solidFill>
                  <a:schemeClr val="bg1"/>
                </a:solidFill>
                <a:latin typeface="ArialMT"/>
              </a:rPr>
              <a:t>•	</a:t>
            </a:r>
            <a:r>
              <a:rPr lang="en-US" sz="900" dirty="0">
                <a:solidFill>
                  <a:schemeClr val="bg1"/>
                </a:solidFill>
                <a:latin typeface="EYInterstate-Light"/>
              </a:rPr>
              <a:t>Compromises of network </a:t>
            </a:r>
          </a:p>
        </p:txBody>
      </p:sp>
      <p:sp>
        <p:nvSpPr>
          <p:cNvPr id="907" name="Rectangle 907"/>
          <p:cNvSpPr/>
          <p:nvPr/>
        </p:nvSpPr>
        <p:spPr>
          <a:xfrm>
            <a:off x="852078" y="4031456"/>
            <a:ext cx="949619"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Fraud attempts</a:t>
            </a:r>
          </a:p>
        </p:txBody>
      </p:sp>
      <p:sp>
        <p:nvSpPr>
          <p:cNvPr id="908" name="Rectangle 908"/>
          <p:cNvSpPr/>
          <p:nvPr/>
        </p:nvSpPr>
        <p:spPr>
          <a:xfrm>
            <a:off x="7405879" y="5632919"/>
            <a:ext cx="1526059" cy="457754"/>
          </a:xfrm>
          <a:prstGeom prst="rect">
            <a:avLst/>
          </a:prstGeom>
        </p:spPr>
        <p:txBody>
          <a:bodyPr wrap="none" lIns="0" tIns="0" rIns="0" bIns="0">
            <a:spAutoFit/>
          </a:bodyPr>
          <a:lstStyle/>
          <a:p>
            <a:r>
              <a:rPr lang="en-US" sz="1200" b="1" dirty="0">
                <a:solidFill>
                  <a:schemeClr val="bg1"/>
                </a:solidFill>
                <a:latin typeface="EYInterstate-Bold"/>
              </a:rPr>
              <a:t>Key Security</a:t>
            </a:r>
          </a:p>
          <a:p>
            <a:pPr marL="11810">
              <a:lnSpc>
                <a:spcPts val="1082"/>
              </a:lnSpc>
              <a:tabLst>
                <a:tab pos="184402" algn="l"/>
              </a:tabLst>
            </a:pPr>
            <a:r>
              <a:rPr lang="en-US" sz="902" dirty="0">
                <a:solidFill>
                  <a:schemeClr val="bg1"/>
                </a:solidFill>
                <a:latin typeface="ArialMT"/>
              </a:rPr>
              <a:t>•	</a:t>
            </a:r>
            <a:r>
              <a:rPr lang="en-US" sz="902" dirty="0">
                <a:solidFill>
                  <a:schemeClr val="bg1"/>
                </a:solidFill>
                <a:latin typeface="EYInterstate-Light"/>
              </a:rPr>
              <a:t>Loss of assets</a:t>
            </a:r>
          </a:p>
          <a:p>
            <a:pPr marL="11810">
              <a:lnSpc>
                <a:spcPts val="1081"/>
              </a:lnSpc>
              <a:tabLst>
                <a:tab pos="184402" algn="l"/>
              </a:tabLst>
            </a:pPr>
            <a:r>
              <a:rPr lang="en-US" sz="900" dirty="0">
                <a:solidFill>
                  <a:schemeClr val="bg1"/>
                </a:solidFill>
                <a:latin typeface="ArialMT"/>
              </a:rPr>
              <a:t>•	</a:t>
            </a:r>
            <a:r>
              <a:rPr lang="en-US" sz="900" dirty="0">
                <a:solidFill>
                  <a:schemeClr val="bg1"/>
                </a:solidFill>
                <a:latin typeface="EYInterstate-Light"/>
              </a:rPr>
              <a:t>Unauthorized transactions</a:t>
            </a:r>
          </a:p>
        </p:txBody>
      </p:sp>
      <p:sp>
        <p:nvSpPr>
          <p:cNvPr id="909" name="Rectangle 909"/>
          <p:cNvSpPr/>
          <p:nvPr/>
        </p:nvSpPr>
        <p:spPr>
          <a:xfrm>
            <a:off x="7417690" y="6096826"/>
            <a:ext cx="1617109" cy="270523"/>
          </a:xfrm>
          <a:prstGeom prst="rect">
            <a:avLst/>
          </a:prstGeom>
        </p:spPr>
        <p:txBody>
          <a:bodyPr wrap="none" lIns="0" tIns="0" rIns="0" bIns="0">
            <a:spAutoFit/>
          </a:bodyPr>
          <a:lstStyle/>
          <a:p>
            <a:pPr>
              <a:tabLst>
                <a:tab pos="172592" algn="l"/>
              </a:tabLst>
            </a:pPr>
            <a:r>
              <a:rPr lang="en-US" sz="900" dirty="0">
                <a:solidFill>
                  <a:schemeClr val="bg1"/>
                </a:solidFill>
                <a:latin typeface="ArialMT"/>
              </a:rPr>
              <a:t>•	</a:t>
            </a:r>
            <a:r>
              <a:rPr lang="en-US" sz="900" dirty="0">
                <a:solidFill>
                  <a:schemeClr val="bg1"/>
                </a:solidFill>
                <a:latin typeface="EYInterstate-Light"/>
              </a:rPr>
              <a:t>Fraud and swapping attacks</a:t>
            </a:r>
          </a:p>
          <a:p>
            <a:pPr>
              <a:lnSpc>
                <a:spcPts val="1079"/>
              </a:lnSpc>
              <a:tabLst>
                <a:tab pos="172592" algn="l"/>
              </a:tabLst>
            </a:pPr>
            <a:r>
              <a:rPr lang="en-US" sz="900" dirty="0">
                <a:solidFill>
                  <a:schemeClr val="bg1"/>
                </a:solidFill>
                <a:latin typeface="ArialMT"/>
              </a:rPr>
              <a:t>•	</a:t>
            </a:r>
            <a:r>
              <a:rPr lang="en-US" sz="900" dirty="0">
                <a:solidFill>
                  <a:schemeClr val="bg1"/>
                </a:solidFill>
                <a:latin typeface="EYInterstate-Light"/>
              </a:rPr>
              <a:t>Swapping attacks</a:t>
            </a:r>
          </a:p>
        </p:txBody>
      </p:sp>
      <p:sp>
        <p:nvSpPr>
          <p:cNvPr id="910" name="Rectangle 910"/>
          <p:cNvSpPr/>
          <p:nvPr/>
        </p:nvSpPr>
        <p:spPr>
          <a:xfrm>
            <a:off x="7417689" y="6371146"/>
            <a:ext cx="1059264" cy="138499"/>
          </a:xfrm>
          <a:prstGeom prst="rect">
            <a:avLst/>
          </a:prstGeom>
        </p:spPr>
        <p:txBody>
          <a:bodyPr wrap="none" lIns="0" tIns="0" rIns="0" bIns="0">
            <a:spAutoFit/>
          </a:bodyPr>
          <a:lstStyle/>
          <a:p>
            <a:pPr>
              <a:tabLst>
                <a:tab pos="172592" algn="l"/>
              </a:tabLst>
            </a:pPr>
            <a:r>
              <a:rPr lang="en-US" sz="900" dirty="0">
                <a:solidFill>
                  <a:schemeClr val="bg1"/>
                </a:solidFill>
                <a:latin typeface="ArialMT"/>
              </a:rPr>
              <a:t>•	</a:t>
            </a:r>
            <a:r>
              <a:rPr lang="en-US" sz="900" dirty="0">
                <a:solidFill>
                  <a:schemeClr val="bg1"/>
                </a:solidFill>
                <a:latin typeface="EYInterstate-Light"/>
              </a:rPr>
              <a:t>Key manipulation</a:t>
            </a:r>
          </a:p>
        </p:txBody>
      </p:sp>
      <p:sp>
        <p:nvSpPr>
          <p:cNvPr id="911" name="Rectangle 911"/>
          <p:cNvSpPr/>
          <p:nvPr/>
        </p:nvSpPr>
        <p:spPr>
          <a:xfrm>
            <a:off x="1573161" y="2432008"/>
            <a:ext cx="1708801" cy="335926"/>
          </a:xfrm>
          <a:prstGeom prst="rect">
            <a:avLst/>
          </a:prstGeom>
        </p:spPr>
        <p:txBody>
          <a:bodyPr wrap="none" lIns="0" tIns="0" rIns="0" bIns="0">
            <a:spAutoFit/>
          </a:bodyPr>
          <a:lstStyle/>
          <a:p>
            <a:r>
              <a:rPr lang="en-US" sz="1200" b="1" dirty="0">
                <a:solidFill>
                  <a:schemeClr val="bg1"/>
                </a:solidFill>
                <a:latin typeface="EYInterstate-Bold"/>
              </a:rPr>
              <a:t>Consensus Mechanism</a:t>
            </a:r>
          </a:p>
          <a:p>
            <a:pPr marL="8889">
              <a:lnSpc>
                <a:spcPts val="1258"/>
              </a:lnSpc>
              <a:tabLst>
                <a:tab pos="181100" algn="l"/>
              </a:tabLst>
            </a:pPr>
            <a:r>
              <a:rPr lang="en-US" sz="900" dirty="0">
                <a:solidFill>
                  <a:schemeClr val="bg1"/>
                </a:solidFill>
                <a:latin typeface="ArialMT"/>
              </a:rPr>
              <a:t>•	</a:t>
            </a:r>
            <a:r>
              <a:rPr lang="en-US" sz="900" dirty="0">
                <a:solidFill>
                  <a:schemeClr val="bg1"/>
                </a:solidFill>
                <a:latin typeface="EYInterstate-Light"/>
              </a:rPr>
              <a:t>Bypass methods</a:t>
            </a:r>
          </a:p>
        </p:txBody>
      </p:sp>
      <p:sp>
        <p:nvSpPr>
          <p:cNvPr id="912" name="Rectangle 912"/>
          <p:cNvSpPr/>
          <p:nvPr/>
        </p:nvSpPr>
        <p:spPr>
          <a:xfrm>
            <a:off x="1582049" y="2780954"/>
            <a:ext cx="1558760" cy="270523"/>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Lack of SOD among nodes</a:t>
            </a:r>
          </a:p>
          <a:p>
            <a:pPr>
              <a:lnSpc>
                <a:spcPts val="1079"/>
              </a:lnSpc>
              <a:tabLst>
                <a:tab pos="172211" algn="l"/>
              </a:tabLst>
            </a:pPr>
            <a:r>
              <a:rPr lang="en-US" sz="900" dirty="0">
                <a:solidFill>
                  <a:schemeClr val="bg1"/>
                </a:solidFill>
                <a:latin typeface="ArialMT"/>
              </a:rPr>
              <a:t>•	</a:t>
            </a:r>
            <a:r>
              <a:rPr lang="en-US" sz="900" dirty="0">
                <a:solidFill>
                  <a:schemeClr val="bg1"/>
                </a:solidFill>
                <a:latin typeface="EYInterstate-Light"/>
              </a:rPr>
              <a:t>Unauthorized consensus-</a:t>
            </a:r>
          </a:p>
        </p:txBody>
      </p:sp>
      <p:sp>
        <p:nvSpPr>
          <p:cNvPr id="913" name="Rectangle 913"/>
          <p:cNvSpPr/>
          <p:nvPr/>
        </p:nvSpPr>
        <p:spPr>
          <a:xfrm>
            <a:off x="1754262" y="3054911"/>
            <a:ext cx="763029" cy="138821"/>
          </a:xfrm>
          <a:prstGeom prst="rect">
            <a:avLst/>
          </a:prstGeom>
        </p:spPr>
        <p:txBody>
          <a:bodyPr wrap="none" lIns="0" tIns="0" rIns="0" bIns="0">
            <a:spAutoFit/>
          </a:bodyPr>
          <a:lstStyle/>
          <a:p>
            <a:r>
              <a:rPr lang="en-US" sz="902" dirty="0">
                <a:solidFill>
                  <a:schemeClr val="bg1"/>
                </a:solidFill>
                <a:latin typeface="EYInterstate-Light"/>
              </a:rPr>
              <a:t>approved forks</a:t>
            </a:r>
          </a:p>
        </p:txBody>
      </p:sp>
      <p:sp>
        <p:nvSpPr>
          <p:cNvPr id="914" name="Rectangle 914"/>
          <p:cNvSpPr/>
          <p:nvPr/>
        </p:nvSpPr>
        <p:spPr>
          <a:xfrm>
            <a:off x="5311521" y="992455"/>
            <a:ext cx="1757532" cy="598882"/>
          </a:xfrm>
          <a:prstGeom prst="rect">
            <a:avLst/>
          </a:prstGeom>
        </p:spPr>
        <p:txBody>
          <a:bodyPr wrap="none" lIns="0" tIns="0" rIns="0" bIns="0">
            <a:spAutoFit/>
          </a:bodyPr>
          <a:lstStyle/>
          <a:p>
            <a:pPr marL="3047"/>
            <a:r>
              <a:rPr lang="en-US" sz="1200" b="1" dirty="0">
                <a:solidFill>
                  <a:schemeClr val="bg1"/>
                </a:solidFill>
                <a:latin typeface="EYInterstate-Bold"/>
              </a:rPr>
              <a:t>Ledger Integrity</a:t>
            </a:r>
          </a:p>
          <a:p>
            <a:pPr>
              <a:lnSpc>
                <a:spcPts val="1133"/>
              </a:lnSpc>
              <a:tabLst>
                <a:tab pos="172211" algn="l"/>
              </a:tabLst>
            </a:pPr>
            <a:r>
              <a:rPr lang="en-US" sz="900" dirty="0">
                <a:solidFill>
                  <a:schemeClr val="bg1"/>
                </a:solidFill>
                <a:latin typeface="ArialMT"/>
              </a:rPr>
              <a:t>•	</a:t>
            </a:r>
            <a:r>
              <a:rPr lang="en-US" sz="900" dirty="0">
                <a:solidFill>
                  <a:schemeClr val="bg1"/>
                </a:solidFill>
                <a:latin typeface="EYInterstate-Light"/>
              </a:rPr>
              <a:t>Asynchronization of nodes</a:t>
            </a:r>
          </a:p>
          <a:p>
            <a:pPr>
              <a:lnSpc>
                <a:spcPts val="1080"/>
              </a:lnSpc>
              <a:tabLst>
                <a:tab pos="172211" algn="l"/>
              </a:tabLst>
            </a:pPr>
            <a:r>
              <a:rPr lang="en-US" sz="900" dirty="0">
                <a:solidFill>
                  <a:schemeClr val="bg1"/>
                </a:solidFill>
                <a:latin typeface="ArialMT"/>
              </a:rPr>
              <a:t>•	</a:t>
            </a:r>
            <a:r>
              <a:rPr lang="en-US" sz="900" dirty="0">
                <a:solidFill>
                  <a:schemeClr val="bg1"/>
                </a:solidFill>
                <a:latin typeface="EYInterstate-Light"/>
              </a:rPr>
              <a:t>Compromised network security</a:t>
            </a:r>
          </a:p>
          <a:p>
            <a:pPr>
              <a:lnSpc>
                <a:spcPts val="1080"/>
              </a:lnSpc>
              <a:tabLst>
                <a:tab pos="172211" algn="l"/>
              </a:tabLst>
            </a:pPr>
            <a:r>
              <a:rPr lang="en-US" sz="902" dirty="0">
                <a:solidFill>
                  <a:schemeClr val="bg1"/>
                </a:solidFill>
                <a:latin typeface="ArialMT"/>
              </a:rPr>
              <a:t>•	</a:t>
            </a:r>
            <a:r>
              <a:rPr lang="en-US" sz="902" dirty="0">
                <a:solidFill>
                  <a:schemeClr val="bg1"/>
                </a:solidFill>
                <a:latin typeface="EYInterstate-Light"/>
              </a:rPr>
              <a:t>Unverified timestamps</a:t>
            </a:r>
          </a:p>
        </p:txBody>
      </p:sp>
      <p:sp>
        <p:nvSpPr>
          <p:cNvPr id="915" name="Rectangle 915"/>
          <p:cNvSpPr/>
          <p:nvPr/>
        </p:nvSpPr>
        <p:spPr>
          <a:xfrm>
            <a:off x="8963248" y="2252422"/>
            <a:ext cx="1718419" cy="326308"/>
          </a:xfrm>
          <a:prstGeom prst="rect">
            <a:avLst/>
          </a:prstGeom>
        </p:spPr>
        <p:txBody>
          <a:bodyPr wrap="none" lIns="0" tIns="0" rIns="0" bIns="0">
            <a:spAutoFit/>
          </a:bodyPr>
          <a:lstStyle/>
          <a:p>
            <a:r>
              <a:rPr lang="en-US" sz="1200" b="1" dirty="0">
                <a:solidFill>
                  <a:schemeClr val="bg1"/>
                </a:solidFill>
                <a:latin typeface="EYInterstate-Bold"/>
              </a:rPr>
              <a:t>Regulatory Compliance</a:t>
            </a:r>
          </a:p>
          <a:p>
            <a:pPr>
              <a:lnSpc>
                <a:spcPts val="1248"/>
              </a:lnSpc>
              <a:tabLst>
                <a:tab pos="172211" algn="l"/>
              </a:tabLst>
            </a:pPr>
            <a:r>
              <a:rPr lang="en-US" sz="900" dirty="0">
                <a:solidFill>
                  <a:schemeClr val="bg1"/>
                </a:solidFill>
                <a:latin typeface="ArialMT"/>
              </a:rPr>
              <a:t>•	</a:t>
            </a:r>
            <a:r>
              <a:rPr lang="en-US" sz="900" dirty="0">
                <a:solidFill>
                  <a:schemeClr val="bg1"/>
                </a:solidFill>
                <a:latin typeface="EYInterstate-Light"/>
              </a:rPr>
              <a:t>Regulations</a:t>
            </a:r>
          </a:p>
        </p:txBody>
      </p:sp>
      <p:sp>
        <p:nvSpPr>
          <p:cNvPr id="916" name="Rectangle 916"/>
          <p:cNvSpPr/>
          <p:nvPr/>
        </p:nvSpPr>
        <p:spPr>
          <a:xfrm>
            <a:off x="8953621" y="2599971"/>
            <a:ext cx="808555"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Jurisdictions</a:t>
            </a:r>
          </a:p>
        </p:txBody>
      </p:sp>
      <p:sp>
        <p:nvSpPr>
          <p:cNvPr id="917" name="Rectangle 917"/>
          <p:cNvSpPr/>
          <p:nvPr/>
        </p:nvSpPr>
        <p:spPr>
          <a:xfrm>
            <a:off x="8953621" y="2737131"/>
            <a:ext cx="789319"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KYC &amp; AML</a:t>
            </a:r>
          </a:p>
        </p:txBody>
      </p:sp>
      <p:sp>
        <p:nvSpPr>
          <p:cNvPr id="918" name="Rectangle 918"/>
          <p:cNvSpPr/>
          <p:nvPr/>
        </p:nvSpPr>
        <p:spPr>
          <a:xfrm>
            <a:off x="8953620" y="2874291"/>
            <a:ext cx="462306"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MICA</a:t>
            </a:r>
          </a:p>
        </p:txBody>
      </p:sp>
      <p:sp>
        <p:nvSpPr>
          <p:cNvPr id="919" name="Rectangle 919"/>
          <p:cNvSpPr/>
          <p:nvPr/>
        </p:nvSpPr>
        <p:spPr>
          <a:xfrm>
            <a:off x="7417689" y="1340816"/>
            <a:ext cx="1255152" cy="184666"/>
          </a:xfrm>
          <a:prstGeom prst="rect">
            <a:avLst/>
          </a:prstGeom>
        </p:spPr>
        <p:txBody>
          <a:bodyPr wrap="none" lIns="0" tIns="0" rIns="0" bIns="0">
            <a:spAutoFit/>
          </a:bodyPr>
          <a:lstStyle/>
          <a:p>
            <a:r>
              <a:rPr lang="en-US" sz="1200" b="1" dirty="0">
                <a:solidFill>
                  <a:schemeClr val="bg1"/>
                </a:solidFill>
                <a:latin typeface="EYInterstate-Bold"/>
              </a:rPr>
              <a:t>Network Security</a:t>
            </a:r>
          </a:p>
        </p:txBody>
      </p:sp>
      <p:sp>
        <p:nvSpPr>
          <p:cNvPr id="920" name="Rectangle 920"/>
          <p:cNvSpPr/>
          <p:nvPr/>
        </p:nvSpPr>
        <p:spPr>
          <a:xfrm>
            <a:off x="7422261" y="1527964"/>
            <a:ext cx="1821653" cy="270587"/>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Vulnerable network components</a:t>
            </a:r>
          </a:p>
          <a:p>
            <a:pPr>
              <a:lnSpc>
                <a:spcPts val="1080"/>
              </a:lnSpc>
              <a:tabLst>
                <a:tab pos="172211" algn="l"/>
              </a:tabLst>
            </a:pPr>
            <a:r>
              <a:rPr lang="en-US" sz="902" dirty="0">
                <a:solidFill>
                  <a:schemeClr val="bg1"/>
                </a:solidFill>
                <a:latin typeface="ArialMT"/>
              </a:rPr>
              <a:t>•	</a:t>
            </a:r>
            <a:r>
              <a:rPr lang="en-US" sz="902" dirty="0">
                <a:solidFill>
                  <a:schemeClr val="bg1"/>
                </a:solidFill>
                <a:latin typeface="EYInterstate-Light"/>
              </a:rPr>
              <a:t>Weak security protocols</a:t>
            </a:r>
          </a:p>
        </p:txBody>
      </p:sp>
      <p:sp>
        <p:nvSpPr>
          <p:cNvPr id="921" name="Rectangle 921"/>
          <p:cNvSpPr/>
          <p:nvPr/>
        </p:nvSpPr>
        <p:spPr>
          <a:xfrm>
            <a:off x="7422261" y="1802538"/>
            <a:ext cx="879087"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Cyber attacks</a:t>
            </a:r>
          </a:p>
        </p:txBody>
      </p:sp>
      <p:sp>
        <p:nvSpPr>
          <p:cNvPr id="922" name="Rectangle 922"/>
          <p:cNvSpPr/>
          <p:nvPr/>
        </p:nvSpPr>
        <p:spPr>
          <a:xfrm>
            <a:off x="7422261" y="1939698"/>
            <a:ext cx="2071721"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Unauthorized and malicious activities</a:t>
            </a:r>
          </a:p>
        </p:txBody>
      </p:sp>
      <p:sp>
        <p:nvSpPr>
          <p:cNvPr id="923" name="Rectangle 923"/>
          <p:cNvSpPr/>
          <p:nvPr/>
        </p:nvSpPr>
        <p:spPr>
          <a:xfrm>
            <a:off x="9204522" y="3193732"/>
            <a:ext cx="1638077" cy="184666"/>
          </a:xfrm>
          <a:prstGeom prst="rect">
            <a:avLst/>
          </a:prstGeom>
        </p:spPr>
        <p:txBody>
          <a:bodyPr wrap="none" lIns="0" tIns="0" rIns="0" bIns="0">
            <a:spAutoFit/>
          </a:bodyPr>
          <a:lstStyle/>
          <a:p>
            <a:r>
              <a:rPr lang="en-US" sz="1200" b="1" dirty="0">
                <a:solidFill>
                  <a:schemeClr val="bg1"/>
                </a:solidFill>
                <a:latin typeface="EYInterstate-Bold"/>
              </a:rPr>
              <a:t>Capacity &amp; Availability</a:t>
            </a:r>
          </a:p>
        </p:txBody>
      </p:sp>
      <p:sp>
        <p:nvSpPr>
          <p:cNvPr id="924" name="Rectangle 924"/>
          <p:cNvSpPr/>
          <p:nvPr/>
        </p:nvSpPr>
        <p:spPr>
          <a:xfrm>
            <a:off x="9219761" y="3429647"/>
            <a:ext cx="2488502" cy="411588"/>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Inefficient scaling and poor capacity mngnt.</a:t>
            </a:r>
          </a:p>
          <a:p>
            <a:pPr>
              <a:lnSpc>
                <a:spcPts val="1079"/>
              </a:lnSpc>
              <a:tabLst>
                <a:tab pos="172211" algn="l"/>
              </a:tabLst>
            </a:pPr>
            <a:r>
              <a:rPr lang="en-US" sz="900" dirty="0">
                <a:solidFill>
                  <a:schemeClr val="bg1"/>
                </a:solidFill>
                <a:latin typeface="ArialMT"/>
              </a:rPr>
              <a:t>•	</a:t>
            </a:r>
            <a:r>
              <a:rPr lang="en-US" sz="900" dirty="0">
                <a:solidFill>
                  <a:schemeClr val="bg1"/>
                </a:solidFill>
                <a:latin typeface="EYInterstate-Light"/>
              </a:rPr>
              <a:t>Poor consensus transmission size and speed</a:t>
            </a:r>
          </a:p>
          <a:p>
            <a:pPr>
              <a:lnSpc>
                <a:spcPts val="1080"/>
              </a:lnSpc>
              <a:tabLst>
                <a:tab pos="172211" algn="l"/>
              </a:tabLst>
            </a:pPr>
            <a:r>
              <a:rPr lang="en-US" sz="900" dirty="0">
                <a:solidFill>
                  <a:schemeClr val="bg1"/>
                </a:solidFill>
                <a:latin typeface="ArialMT"/>
              </a:rPr>
              <a:t>•	</a:t>
            </a:r>
            <a:r>
              <a:rPr lang="en-US" sz="900" dirty="0">
                <a:solidFill>
                  <a:schemeClr val="bg1"/>
                </a:solidFill>
                <a:latin typeface="EYInterstate-Light"/>
              </a:rPr>
              <a:t>Inefficient block size and depth</a:t>
            </a:r>
          </a:p>
        </p:txBody>
      </p:sp>
      <p:sp>
        <p:nvSpPr>
          <p:cNvPr id="925" name="Rectangle 925"/>
          <p:cNvSpPr/>
          <p:nvPr/>
        </p:nvSpPr>
        <p:spPr>
          <a:xfrm>
            <a:off x="5251196" y="6063246"/>
            <a:ext cx="1607812" cy="316690"/>
          </a:xfrm>
          <a:prstGeom prst="rect">
            <a:avLst/>
          </a:prstGeom>
        </p:spPr>
        <p:txBody>
          <a:bodyPr wrap="none" lIns="0" tIns="0" rIns="0" bIns="0">
            <a:spAutoFit/>
          </a:bodyPr>
          <a:lstStyle/>
          <a:p>
            <a:r>
              <a:rPr lang="en-US" sz="1200" b="1" dirty="0">
                <a:solidFill>
                  <a:schemeClr val="bg1"/>
                </a:solidFill>
                <a:latin typeface="EYInterstate-Bold"/>
              </a:rPr>
              <a:t>Algorithm Mechanism</a:t>
            </a:r>
          </a:p>
          <a:p>
            <a:pPr>
              <a:lnSpc>
                <a:spcPts val="1120"/>
              </a:lnSpc>
              <a:tabLst>
                <a:tab pos="172211" algn="l"/>
              </a:tabLst>
            </a:pPr>
            <a:r>
              <a:rPr lang="en-US" sz="900" dirty="0">
                <a:solidFill>
                  <a:schemeClr val="bg1"/>
                </a:solidFill>
                <a:latin typeface="ArialMT"/>
              </a:rPr>
              <a:t>•	</a:t>
            </a:r>
            <a:r>
              <a:rPr lang="en-US" sz="900" dirty="0">
                <a:solidFill>
                  <a:schemeClr val="bg1"/>
                </a:solidFill>
                <a:latin typeface="EYInterstate-Light"/>
              </a:rPr>
              <a:t>Cybersecurity attacks</a:t>
            </a:r>
          </a:p>
        </p:txBody>
      </p:sp>
      <p:sp>
        <p:nvSpPr>
          <p:cNvPr id="926" name="Rectangle 926"/>
          <p:cNvSpPr/>
          <p:nvPr/>
        </p:nvSpPr>
        <p:spPr>
          <a:xfrm>
            <a:off x="5251197" y="6394201"/>
            <a:ext cx="1860125" cy="138821"/>
          </a:xfrm>
          <a:prstGeom prst="rect">
            <a:avLst/>
          </a:prstGeom>
        </p:spPr>
        <p:txBody>
          <a:bodyPr wrap="none" lIns="0" tIns="0" rIns="0" bIns="0">
            <a:spAutoFit/>
          </a:bodyPr>
          <a:lstStyle/>
          <a:p>
            <a:pPr>
              <a:tabLst>
                <a:tab pos="172211" algn="l"/>
              </a:tabLst>
            </a:pPr>
            <a:r>
              <a:rPr lang="en-US" sz="902" dirty="0">
                <a:solidFill>
                  <a:schemeClr val="bg1"/>
                </a:solidFill>
                <a:latin typeface="ArialMT"/>
              </a:rPr>
              <a:t>•	</a:t>
            </a:r>
            <a:r>
              <a:rPr lang="en-US" sz="902" dirty="0">
                <a:solidFill>
                  <a:schemeClr val="bg1"/>
                </a:solidFill>
                <a:latin typeface="EYInterstate-Light"/>
              </a:rPr>
              <a:t>Stolen computing resources and </a:t>
            </a:r>
          </a:p>
        </p:txBody>
      </p:sp>
      <p:sp>
        <p:nvSpPr>
          <p:cNvPr id="927" name="Rectangle 927"/>
          <p:cNvSpPr/>
          <p:nvPr/>
        </p:nvSpPr>
        <p:spPr>
          <a:xfrm>
            <a:off x="5423409" y="6532029"/>
            <a:ext cx="333425" cy="138499"/>
          </a:xfrm>
          <a:prstGeom prst="rect">
            <a:avLst/>
          </a:prstGeom>
        </p:spPr>
        <p:txBody>
          <a:bodyPr wrap="none" lIns="0" tIns="0" rIns="0" bIns="0">
            <a:spAutoFit/>
          </a:bodyPr>
          <a:lstStyle/>
          <a:p>
            <a:r>
              <a:rPr lang="en-US" sz="900" dirty="0">
                <a:solidFill>
                  <a:schemeClr val="bg1"/>
                </a:solidFill>
                <a:latin typeface="EYInterstate-Light"/>
              </a:rPr>
              <a:t>assets</a:t>
            </a:r>
          </a:p>
        </p:txBody>
      </p:sp>
      <p:sp>
        <p:nvSpPr>
          <p:cNvPr id="928" name="Rectangle 928"/>
          <p:cNvSpPr/>
          <p:nvPr/>
        </p:nvSpPr>
        <p:spPr>
          <a:xfrm>
            <a:off x="9321194" y="4031563"/>
            <a:ext cx="1895006" cy="316690"/>
          </a:xfrm>
          <a:prstGeom prst="rect">
            <a:avLst/>
          </a:prstGeom>
        </p:spPr>
        <p:txBody>
          <a:bodyPr wrap="none" lIns="0" tIns="0" rIns="0" bIns="0">
            <a:spAutoFit/>
          </a:bodyPr>
          <a:lstStyle/>
          <a:p>
            <a:r>
              <a:rPr lang="en-US" sz="1200" b="1" dirty="0">
                <a:solidFill>
                  <a:schemeClr val="bg1"/>
                </a:solidFill>
                <a:latin typeface="EYInterstate-Bold"/>
              </a:rPr>
              <a:t>Transaction Authorization</a:t>
            </a:r>
          </a:p>
          <a:p>
            <a:pPr marL="10668">
              <a:lnSpc>
                <a:spcPts val="1130"/>
              </a:lnSpc>
              <a:tabLst>
                <a:tab pos="182879" algn="l"/>
              </a:tabLst>
            </a:pPr>
            <a:r>
              <a:rPr lang="en-US" sz="900" dirty="0">
                <a:solidFill>
                  <a:schemeClr val="bg1"/>
                </a:solidFill>
                <a:latin typeface="ArialMT"/>
              </a:rPr>
              <a:t>•	</a:t>
            </a:r>
            <a:r>
              <a:rPr lang="en-US" sz="900" dirty="0">
                <a:solidFill>
                  <a:schemeClr val="bg1"/>
                </a:solidFill>
                <a:latin typeface="EYInterstate-Light"/>
              </a:rPr>
              <a:t>Node attacks</a:t>
            </a:r>
          </a:p>
        </p:txBody>
      </p:sp>
      <p:sp>
        <p:nvSpPr>
          <p:cNvPr id="929" name="Rectangle 929"/>
          <p:cNvSpPr/>
          <p:nvPr/>
        </p:nvSpPr>
        <p:spPr>
          <a:xfrm>
            <a:off x="9331864" y="4364126"/>
            <a:ext cx="1988365" cy="270523"/>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Transaction manipulations</a:t>
            </a:r>
          </a:p>
          <a:p>
            <a:pPr>
              <a:lnSpc>
                <a:spcPts val="1080"/>
              </a:lnSpc>
              <a:tabLst>
                <a:tab pos="172211" algn="l"/>
              </a:tabLst>
            </a:pPr>
            <a:r>
              <a:rPr lang="en-US" sz="900" dirty="0">
                <a:solidFill>
                  <a:schemeClr val="bg1"/>
                </a:solidFill>
                <a:latin typeface="ArialMT"/>
              </a:rPr>
              <a:t>•	</a:t>
            </a:r>
            <a:r>
              <a:rPr lang="en-US" sz="900" dirty="0">
                <a:solidFill>
                  <a:schemeClr val="bg1"/>
                </a:solidFill>
                <a:latin typeface="EYInterstate-Light"/>
              </a:rPr>
              <a:t>Invalid or fraudulent asset deletions</a:t>
            </a:r>
          </a:p>
        </p:txBody>
      </p:sp>
      <p:sp>
        <p:nvSpPr>
          <p:cNvPr id="930" name="Rectangle 930"/>
          <p:cNvSpPr/>
          <p:nvPr/>
        </p:nvSpPr>
        <p:spPr>
          <a:xfrm>
            <a:off x="2993517" y="5487620"/>
            <a:ext cx="84960" cy="184666"/>
          </a:xfrm>
          <a:prstGeom prst="rect">
            <a:avLst/>
          </a:prstGeom>
        </p:spPr>
        <p:txBody>
          <a:bodyPr wrap="none" lIns="0" tIns="0" rIns="0" bIns="0">
            <a:spAutoFit/>
          </a:bodyPr>
          <a:lstStyle/>
          <a:p>
            <a:r>
              <a:rPr lang="en-US" sz="1200" b="1" dirty="0">
                <a:solidFill>
                  <a:schemeClr val="bg1"/>
                </a:solidFill>
                <a:latin typeface="EYInterstate-Bold"/>
              </a:rPr>
              <a:t>3</a:t>
            </a:r>
          </a:p>
        </p:txBody>
      </p:sp>
      <p:sp>
        <p:nvSpPr>
          <p:cNvPr id="931" name="Rectangle 931"/>
          <p:cNvSpPr/>
          <p:nvPr/>
        </p:nvSpPr>
        <p:spPr>
          <a:xfrm>
            <a:off x="3088005" y="5441900"/>
            <a:ext cx="1378967" cy="186526"/>
          </a:xfrm>
          <a:prstGeom prst="rect">
            <a:avLst/>
          </a:prstGeom>
        </p:spPr>
        <p:txBody>
          <a:bodyPr wrap="none" lIns="0" tIns="0" rIns="0" bIns="0">
            <a:spAutoFit/>
          </a:bodyPr>
          <a:lstStyle/>
          <a:p>
            <a:r>
              <a:rPr lang="en-US" sz="803" b="1" dirty="0">
                <a:solidFill>
                  <a:schemeClr val="bg1"/>
                </a:solidFill>
                <a:latin typeface="EYInterstate-Bold"/>
              </a:rPr>
              <a:t>r</a:t>
            </a:r>
            <a:r>
              <a:rPr lang="en-US" sz="803" b="1" spc="328" dirty="0">
                <a:solidFill>
                  <a:schemeClr val="bg1"/>
                </a:solidFill>
                <a:latin typeface="EYInterstate-Bold"/>
              </a:rPr>
              <a:t>d</a:t>
            </a:r>
            <a:r>
              <a:rPr lang="en-US" sz="1818" b="1" baseline="-29999" dirty="0">
                <a:solidFill>
                  <a:schemeClr val="bg1"/>
                </a:solidFill>
                <a:latin typeface="EYInterstate-Bold"/>
              </a:rPr>
              <a:t>Party Integration</a:t>
            </a:r>
          </a:p>
        </p:txBody>
      </p:sp>
      <p:sp>
        <p:nvSpPr>
          <p:cNvPr id="932" name="Rectangle 932"/>
          <p:cNvSpPr/>
          <p:nvPr/>
        </p:nvSpPr>
        <p:spPr>
          <a:xfrm>
            <a:off x="2993517" y="5697933"/>
            <a:ext cx="1789592" cy="270523"/>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Corrupt a peer-to-peer network </a:t>
            </a:r>
          </a:p>
          <a:p>
            <a:pPr>
              <a:lnSpc>
                <a:spcPts val="1079"/>
              </a:lnSpc>
              <a:tabLst>
                <a:tab pos="172211" algn="l"/>
              </a:tabLst>
            </a:pPr>
            <a:r>
              <a:rPr lang="en-US" sz="900" dirty="0">
                <a:solidFill>
                  <a:schemeClr val="bg1"/>
                </a:solidFill>
                <a:latin typeface="ArialMT"/>
              </a:rPr>
              <a:t>•	</a:t>
            </a:r>
            <a:r>
              <a:rPr lang="en-US" sz="900" dirty="0">
                <a:solidFill>
                  <a:schemeClr val="bg1"/>
                </a:solidFill>
                <a:latin typeface="EYInterstate-Light"/>
              </a:rPr>
              <a:t>Anti-pattern attacks</a:t>
            </a:r>
          </a:p>
        </p:txBody>
      </p:sp>
      <p:sp>
        <p:nvSpPr>
          <p:cNvPr id="933" name="Rectangle 933"/>
          <p:cNvSpPr/>
          <p:nvPr/>
        </p:nvSpPr>
        <p:spPr>
          <a:xfrm>
            <a:off x="2993518" y="5972253"/>
            <a:ext cx="1116331"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Fake node attacks</a:t>
            </a:r>
          </a:p>
        </p:txBody>
      </p:sp>
      <p:sp>
        <p:nvSpPr>
          <p:cNvPr id="934" name="Rectangle 934"/>
          <p:cNvSpPr/>
          <p:nvPr/>
        </p:nvSpPr>
        <p:spPr>
          <a:xfrm>
            <a:off x="2993518" y="6109413"/>
            <a:ext cx="2007601" cy="270523"/>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Border gateway protocol hijacking</a:t>
            </a:r>
          </a:p>
          <a:p>
            <a:pPr>
              <a:lnSpc>
                <a:spcPts val="1079"/>
              </a:lnSpc>
              <a:tabLst>
                <a:tab pos="172211" algn="l"/>
              </a:tabLst>
            </a:pPr>
            <a:r>
              <a:rPr lang="en-US" sz="900" dirty="0">
                <a:solidFill>
                  <a:schemeClr val="bg1"/>
                </a:solidFill>
                <a:latin typeface="ArialMT"/>
              </a:rPr>
              <a:t>•	</a:t>
            </a:r>
            <a:r>
              <a:rPr lang="en-US" sz="900" dirty="0">
                <a:solidFill>
                  <a:schemeClr val="bg1"/>
                </a:solidFill>
                <a:latin typeface="EYInterstate-Light"/>
              </a:rPr>
              <a:t>Undefined authorized block signers </a:t>
            </a:r>
          </a:p>
        </p:txBody>
      </p:sp>
      <p:sp>
        <p:nvSpPr>
          <p:cNvPr id="935" name="Rectangle 935"/>
          <p:cNvSpPr/>
          <p:nvPr/>
        </p:nvSpPr>
        <p:spPr>
          <a:xfrm>
            <a:off x="3126486" y="1494182"/>
            <a:ext cx="750847"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Malicious 3</a:t>
            </a:r>
          </a:p>
        </p:txBody>
      </p:sp>
      <p:sp>
        <p:nvSpPr>
          <p:cNvPr id="936" name="Rectangle 936"/>
          <p:cNvSpPr/>
          <p:nvPr/>
        </p:nvSpPr>
        <p:spPr>
          <a:xfrm>
            <a:off x="3126486" y="1459129"/>
            <a:ext cx="1900713" cy="271806"/>
          </a:xfrm>
          <a:prstGeom prst="rect">
            <a:avLst/>
          </a:prstGeom>
        </p:spPr>
        <p:txBody>
          <a:bodyPr wrap="none" lIns="0" tIns="0" rIns="0" bIns="0">
            <a:spAutoFit/>
          </a:bodyPr>
          <a:lstStyle/>
          <a:p>
            <a:pPr marL="752855"/>
            <a:r>
              <a:rPr lang="en-US" sz="600" dirty="0">
                <a:solidFill>
                  <a:schemeClr val="bg1"/>
                </a:solidFill>
                <a:latin typeface="EYInterstate-Light"/>
              </a:rPr>
              <a:t>r</a:t>
            </a:r>
            <a:r>
              <a:rPr lang="en-US" sz="600" spc="254" dirty="0">
                <a:solidFill>
                  <a:schemeClr val="bg1"/>
                </a:solidFill>
                <a:latin typeface="EYInterstate-Light"/>
              </a:rPr>
              <a:t>d</a:t>
            </a:r>
            <a:r>
              <a:rPr lang="en-US" sz="1363" baseline="-30666" dirty="0">
                <a:solidFill>
                  <a:schemeClr val="bg1"/>
                </a:solidFill>
                <a:latin typeface="EYInterstate-Light"/>
              </a:rPr>
              <a:t>party external inputs</a:t>
            </a:r>
          </a:p>
          <a:p>
            <a:pPr>
              <a:lnSpc>
                <a:spcPts val="1089"/>
              </a:lnSpc>
              <a:tabLst>
                <a:tab pos="172211" algn="l"/>
              </a:tabLst>
            </a:pPr>
            <a:r>
              <a:rPr lang="en-US" sz="900" dirty="0">
                <a:solidFill>
                  <a:schemeClr val="bg1"/>
                </a:solidFill>
                <a:latin typeface="ArialMT"/>
              </a:rPr>
              <a:t>•	</a:t>
            </a:r>
            <a:r>
              <a:rPr lang="en-US" sz="900" dirty="0">
                <a:solidFill>
                  <a:schemeClr val="bg1"/>
                </a:solidFill>
                <a:latin typeface="EYInterstate-Light"/>
              </a:rPr>
              <a:t>Undetected losses</a:t>
            </a:r>
          </a:p>
        </p:txBody>
      </p:sp>
      <p:sp>
        <p:nvSpPr>
          <p:cNvPr id="937" name="Rectangle 937"/>
          <p:cNvSpPr/>
          <p:nvPr/>
        </p:nvSpPr>
        <p:spPr>
          <a:xfrm>
            <a:off x="3126486" y="1739627"/>
            <a:ext cx="1815241" cy="270523"/>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Premature or latent transactions</a:t>
            </a:r>
          </a:p>
          <a:p>
            <a:pPr>
              <a:lnSpc>
                <a:spcPts val="1079"/>
              </a:lnSpc>
              <a:tabLst>
                <a:tab pos="172211" algn="l"/>
              </a:tabLst>
            </a:pPr>
            <a:r>
              <a:rPr lang="en-US" sz="900" dirty="0">
                <a:solidFill>
                  <a:schemeClr val="bg1"/>
                </a:solidFill>
                <a:latin typeface="ArialMT"/>
              </a:rPr>
              <a:t>•	</a:t>
            </a:r>
            <a:r>
              <a:rPr lang="en-US" sz="900" dirty="0">
                <a:solidFill>
                  <a:schemeClr val="bg1"/>
                </a:solidFill>
                <a:latin typeface="EYInterstate-Light"/>
              </a:rPr>
              <a:t>Reentrancy risk</a:t>
            </a:r>
          </a:p>
        </p:txBody>
      </p:sp>
      <p:sp>
        <p:nvSpPr>
          <p:cNvPr id="938" name="Rectangle 938"/>
          <p:cNvSpPr/>
          <p:nvPr/>
        </p:nvSpPr>
        <p:spPr>
          <a:xfrm>
            <a:off x="3126485" y="2023572"/>
            <a:ext cx="1359988"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Delegate-call injections</a:t>
            </a:r>
          </a:p>
        </p:txBody>
      </p:sp>
      <p:sp>
        <p:nvSpPr>
          <p:cNvPr id="939" name="Rectangle 939"/>
          <p:cNvSpPr/>
          <p:nvPr/>
        </p:nvSpPr>
        <p:spPr>
          <a:xfrm>
            <a:off x="3126486" y="2179982"/>
            <a:ext cx="1103507" cy="138499"/>
          </a:xfrm>
          <a:prstGeom prst="rect">
            <a:avLst/>
          </a:prstGeom>
        </p:spPr>
        <p:txBody>
          <a:bodyPr wrap="none" lIns="0" tIns="0" rIns="0" bIns="0">
            <a:spAutoFit/>
          </a:bodyPr>
          <a:lstStyle/>
          <a:p>
            <a:pPr>
              <a:tabLst>
                <a:tab pos="172211" algn="l"/>
              </a:tabLst>
            </a:pPr>
            <a:r>
              <a:rPr lang="en-US" sz="900" dirty="0">
                <a:solidFill>
                  <a:schemeClr val="bg1"/>
                </a:solidFill>
                <a:latin typeface="ArialMT"/>
              </a:rPr>
              <a:t>•	</a:t>
            </a:r>
            <a:r>
              <a:rPr lang="en-US" sz="900" dirty="0">
                <a:solidFill>
                  <a:schemeClr val="bg1"/>
                </a:solidFill>
                <a:latin typeface="EYInterstate-Light"/>
              </a:rPr>
              <a:t>Denial of Services</a:t>
            </a:r>
          </a:p>
        </p:txBody>
      </p:sp>
      <p:sp>
        <p:nvSpPr>
          <p:cNvPr id="940" name="Rectangle 940"/>
          <p:cNvSpPr/>
          <p:nvPr/>
        </p:nvSpPr>
        <p:spPr>
          <a:xfrm>
            <a:off x="3126485" y="1285317"/>
            <a:ext cx="1194238" cy="184666"/>
          </a:xfrm>
          <a:prstGeom prst="rect">
            <a:avLst/>
          </a:prstGeom>
        </p:spPr>
        <p:txBody>
          <a:bodyPr wrap="none" lIns="0" tIns="0" rIns="0" bIns="0">
            <a:spAutoFit/>
          </a:bodyPr>
          <a:lstStyle/>
          <a:p>
            <a:r>
              <a:rPr lang="en-US" sz="1200" b="1" dirty="0">
                <a:solidFill>
                  <a:schemeClr val="bg1"/>
                </a:solidFill>
                <a:latin typeface="EYInterstate-Bold"/>
              </a:rPr>
              <a:t>Smart Contracts</a:t>
            </a:r>
          </a:p>
        </p:txBody>
      </p:sp>
      <p:sp>
        <p:nvSpPr>
          <p:cNvPr id="942" name="Rectangle 942"/>
          <p:cNvSpPr/>
          <p:nvPr/>
        </p:nvSpPr>
        <p:spPr>
          <a:xfrm>
            <a:off x="8902694" y="4928393"/>
            <a:ext cx="2076209" cy="457818"/>
          </a:xfrm>
          <a:prstGeom prst="rect">
            <a:avLst/>
          </a:prstGeom>
        </p:spPr>
        <p:txBody>
          <a:bodyPr wrap="none" lIns="0" tIns="0" rIns="0" bIns="0">
            <a:spAutoFit/>
          </a:bodyPr>
          <a:lstStyle/>
          <a:p>
            <a:r>
              <a:rPr lang="en-US" sz="1200" b="1" dirty="0">
                <a:solidFill>
                  <a:schemeClr val="bg1"/>
                </a:solidFill>
                <a:latin typeface="EYInterstate-Bold"/>
              </a:rPr>
              <a:t>Energy Consumption</a:t>
            </a:r>
          </a:p>
          <a:p>
            <a:pPr marL="10668">
              <a:lnSpc>
                <a:spcPts val="1127"/>
              </a:lnSpc>
              <a:tabLst>
                <a:tab pos="182879" algn="l"/>
              </a:tabLst>
            </a:pPr>
            <a:r>
              <a:rPr lang="en-US" sz="900" dirty="0">
                <a:solidFill>
                  <a:schemeClr val="bg1"/>
                </a:solidFill>
                <a:latin typeface="ArialMT"/>
              </a:rPr>
              <a:t>•	</a:t>
            </a:r>
            <a:r>
              <a:rPr lang="en-US" sz="900" dirty="0">
                <a:solidFill>
                  <a:schemeClr val="bg1"/>
                </a:solidFill>
                <a:latin typeface="EYInterstate-Light"/>
              </a:rPr>
              <a:t>Inefficient usage of energy recourses</a:t>
            </a:r>
          </a:p>
          <a:p>
            <a:pPr marL="10668">
              <a:lnSpc>
                <a:spcPts val="1080"/>
              </a:lnSpc>
              <a:tabLst>
                <a:tab pos="182879" algn="l"/>
              </a:tabLst>
            </a:pPr>
            <a:r>
              <a:rPr lang="en-US" sz="902" dirty="0">
                <a:solidFill>
                  <a:schemeClr val="bg1"/>
                </a:solidFill>
                <a:latin typeface="ArialMT"/>
              </a:rPr>
              <a:t>•	</a:t>
            </a:r>
            <a:r>
              <a:rPr lang="en-US" sz="902" dirty="0">
                <a:solidFill>
                  <a:schemeClr val="bg1"/>
                </a:solidFill>
                <a:latin typeface="EYInterstate-Light"/>
              </a:rPr>
              <a:t>Sustainability problems due to high </a:t>
            </a:r>
          </a:p>
        </p:txBody>
      </p:sp>
      <p:sp>
        <p:nvSpPr>
          <p:cNvPr id="943" name="Rectangle 943"/>
          <p:cNvSpPr/>
          <p:nvPr/>
        </p:nvSpPr>
        <p:spPr>
          <a:xfrm>
            <a:off x="9085574" y="5398116"/>
            <a:ext cx="1038746" cy="138499"/>
          </a:xfrm>
          <a:prstGeom prst="rect">
            <a:avLst/>
          </a:prstGeom>
        </p:spPr>
        <p:txBody>
          <a:bodyPr wrap="none" lIns="0" tIns="0" rIns="0" bIns="0">
            <a:spAutoFit/>
          </a:bodyPr>
          <a:lstStyle/>
          <a:p>
            <a:r>
              <a:rPr lang="en-US" sz="900" dirty="0">
                <a:solidFill>
                  <a:schemeClr val="bg1"/>
                </a:solidFill>
                <a:latin typeface="EYInterstate-Light"/>
              </a:rPr>
              <a:t>energy consumption</a:t>
            </a:r>
          </a:p>
        </p:txBody>
      </p:sp>
      <p:pic>
        <p:nvPicPr>
          <p:cNvPr id="11" name="Picture 2" descr="NOREA | NOREA">
            <a:extLst>
              <a:ext uri="{FF2B5EF4-FFF2-40B4-BE49-F238E27FC236}">
                <a16:creationId xmlns:a16="http://schemas.microsoft.com/office/drawing/2014/main" id="{5DB2B709-4B74-1F8D-53BD-57E6F9CCBE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
        <p:nvSpPr>
          <p:cNvPr id="2" name="Freeform 12">
            <a:extLst>
              <a:ext uri="{FF2B5EF4-FFF2-40B4-BE49-F238E27FC236}">
                <a16:creationId xmlns:a16="http://schemas.microsoft.com/office/drawing/2014/main" id="{065B9EEC-9EC6-9A4C-2475-ACEB1950DA8E}"/>
              </a:ext>
            </a:extLst>
          </p:cNvPr>
          <p:cNvSpPr>
            <a:spLocks noEditPoints="1"/>
          </p:cNvSpPr>
          <p:nvPr/>
        </p:nvSpPr>
        <p:spPr bwMode="auto">
          <a:xfrm>
            <a:off x="3850639" y="2607456"/>
            <a:ext cx="4541837" cy="2279650"/>
          </a:xfrm>
          <a:custGeom>
            <a:avLst/>
            <a:gdLst>
              <a:gd name="T0" fmla="*/ 2147483647 w 5101"/>
              <a:gd name="T1" fmla="*/ 2147483647 h 2743"/>
              <a:gd name="T2" fmla="*/ 2147483647 w 5101"/>
              <a:gd name="T3" fmla="*/ 2147483647 h 2743"/>
              <a:gd name="T4" fmla="*/ 2147483647 w 5101"/>
              <a:gd name="T5" fmla="*/ 2147483647 h 2743"/>
              <a:gd name="T6" fmla="*/ 2147483647 w 5101"/>
              <a:gd name="T7" fmla="*/ 2147483647 h 2743"/>
              <a:gd name="T8" fmla="*/ 2147483647 w 5101"/>
              <a:gd name="T9" fmla="*/ 2147483647 h 2743"/>
              <a:gd name="T10" fmla="*/ 2147483647 w 5101"/>
              <a:gd name="T11" fmla="*/ 2147483647 h 2743"/>
              <a:gd name="T12" fmla="*/ 2147483647 w 5101"/>
              <a:gd name="T13" fmla="*/ 2147483647 h 2743"/>
              <a:gd name="T14" fmla="*/ 2147483647 w 5101"/>
              <a:gd name="T15" fmla="*/ 2147483647 h 2743"/>
              <a:gd name="T16" fmla="*/ 2147483647 w 5101"/>
              <a:gd name="T17" fmla="*/ 2147483647 h 2743"/>
              <a:gd name="T18" fmla="*/ 2147483647 w 5101"/>
              <a:gd name="T19" fmla="*/ 2147483647 h 2743"/>
              <a:gd name="T20" fmla="*/ 2147483647 w 5101"/>
              <a:gd name="T21" fmla="*/ 2147483647 h 2743"/>
              <a:gd name="T22" fmla="*/ 2147483647 w 5101"/>
              <a:gd name="T23" fmla="*/ 2147483647 h 2743"/>
              <a:gd name="T24" fmla="*/ 2147483647 w 5101"/>
              <a:gd name="T25" fmla="*/ 2147483647 h 2743"/>
              <a:gd name="T26" fmla="*/ 2147483647 w 5101"/>
              <a:gd name="T27" fmla="*/ 2147483647 h 2743"/>
              <a:gd name="T28" fmla="*/ 2147483647 w 5101"/>
              <a:gd name="T29" fmla="*/ 2147483647 h 2743"/>
              <a:gd name="T30" fmla="*/ 2147483647 w 5101"/>
              <a:gd name="T31" fmla="*/ 2147483647 h 2743"/>
              <a:gd name="T32" fmla="*/ 2147483647 w 5101"/>
              <a:gd name="T33" fmla="*/ 2147483647 h 2743"/>
              <a:gd name="T34" fmla="*/ 2147483647 w 5101"/>
              <a:gd name="T35" fmla="*/ 2147483647 h 2743"/>
              <a:gd name="T36" fmla="*/ 2147483647 w 5101"/>
              <a:gd name="T37" fmla="*/ 2147483647 h 2743"/>
              <a:gd name="T38" fmla="*/ 2147483647 w 5101"/>
              <a:gd name="T39" fmla="*/ 2147483647 h 2743"/>
              <a:gd name="T40" fmla="*/ 2147483647 w 5101"/>
              <a:gd name="T41" fmla="*/ 2147483647 h 2743"/>
              <a:gd name="T42" fmla="*/ 2147483647 w 5101"/>
              <a:gd name="T43" fmla="*/ 2147483647 h 2743"/>
              <a:gd name="T44" fmla="*/ 2147483647 w 5101"/>
              <a:gd name="T45" fmla="*/ 2147483647 h 2743"/>
              <a:gd name="T46" fmla="*/ 2147483647 w 5101"/>
              <a:gd name="T47" fmla="*/ 2147483647 h 2743"/>
              <a:gd name="T48" fmla="*/ 2147483647 w 5101"/>
              <a:gd name="T49" fmla="*/ 2147483647 h 2743"/>
              <a:gd name="T50" fmla="*/ 2147483647 w 5101"/>
              <a:gd name="T51" fmla="*/ 2147483647 h 2743"/>
              <a:gd name="T52" fmla="*/ 2147483647 w 5101"/>
              <a:gd name="T53" fmla="*/ 2147483647 h 2743"/>
              <a:gd name="T54" fmla="*/ 2147483647 w 5101"/>
              <a:gd name="T55" fmla="*/ 2147483647 h 2743"/>
              <a:gd name="T56" fmla="*/ 2147483647 w 5101"/>
              <a:gd name="T57" fmla="*/ 2147483647 h 2743"/>
              <a:gd name="T58" fmla="*/ 2147483647 w 5101"/>
              <a:gd name="T59" fmla="*/ 2147483647 h 2743"/>
              <a:gd name="T60" fmla="*/ 2147483647 w 5101"/>
              <a:gd name="T61" fmla="*/ 2147483647 h 2743"/>
              <a:gd name="T62" fmla="*/ 2147483647 w 5101"/>
              <a:gd name="T63" fmla="*/ 2147483647 h 2743"/>
              <a:gd name="T64" fmla="*/ 2147483647 w 5101"/>
              <a:gd name="T65" fmla="*/ 2147483647 h 2743"/>
              <a:gd name="T66" fmla="*/ 2147483647 w 5101"/>
              <a:gd name="T67" fmla="*/ 2147483647 h 2743"/>
              <a:gd name="T68" fmla="*/ 2147483647 w 5101"/>
              <a:gd name="T69" fmla="*/ 2147483647 h 2743"/>
              <a:gd name="T70" fmla="*/ 2147483647 w 5101"/>
              <a:gd name="T71" fmla="*/ 2147483647 h 2743"/>
              <a:gd name="T72" fmla="*/ 2147483647 w 5101"/>
              <a:gd name="T73" fmla="*/ 2147483647 h 2743"/>
              <a:gd name="T74" fmla="*/ 2147483647 w 5101"/>
              <a:gd name="T75" fmla="*/ 2147483647 h 2743"/>
              <a:gd name="T76" fmla="*/ 2147483647 w 5101"/>
              <a:gd name="T77" fmla="*/ 2147483647 h 2743"/>
              <a:gd name="T78" fmla="*/ 2147483647 w 5101"/>
              <a:gd name="T79" fmla="*/ 2147483647 h 2743"/>
              <a:gd name="T80" fmla="*/ 2147483647 w 5101"/>
              <a:gd name="T81" fmla="*/ 2147483647 h 2743"/>
              <a:gd name="T82" fmla="*/ 2147483647 w 5101"/>
              <a:gd name="T83" fmla="*/ 2147483647 h 2743"/>
              <a:gd name="T84" fmla="*/ 2147483647 w 5101"/>
              <a:gd name="T85" fmla="*/ 2147483647 h 2743"/>
              <a:gd name="T86" fmla="*/ 2147483647 w 5101"/>
              <a:gd name="T87" fmla="*/ 2147483647 h 2743"/>
              <a:gd name="T88" fmla="*/ 2147483647 w 5101"/>
              <a:gd name="T89" fmla="*/ 2147483647 h 2743"/>
              <a:gd name="T90" fmla="*/ 2147483647 w 5101"/>
              <a:gd name="T91" fmla="*/ 2147483647 h 2743"/>
              <a:gd name="T92" fmla="*/ 2147483647 w 5101"/>
              <a:gd name="T93" fmla="*/ 2147483647 h 2743"/>
              <a:gd name="T94" fmla="*/ 2147483647 w 5101"/>
              <a:gd name="T95" fmla="*/ 2147483647 h 2743"/>
              <a:gd name="T96" fmla="*/ 2147483647 w 5101"/>
              <a:gd name="T97" fmla="*/ 2147483647 h 2743"/>
              <a:gd name="T98" fmla="*/ 2147483647 w 5101"/>
              <a:gd name="T99" fmla="*/ 2147483647 h 2743"/>
              <a:gd name="T100" fmla="*/ 2147483647 w 5101"/>
              <a:gd name="T101" fmla="*/ 2147483647 h 2743"/>
              <a:gd name="T102" fmla="*/ 2147483647 w 5101"/>
              <a:gd name="T103" fmla="*/ 2147483647 h 2743"/>
              <a:gd name="T104" fmla="*/ 2147483647 w 5101"/>
              <a:gd name="T105" fmla="*/ 2147483647 h 2743"/>
              <a:gd name="T106" fmla="*/ 2147483647 w 5101"/>
              <a:gd name="T107" fmla="*/ 2147483647 h 2743"/>
              <a:gd name="T108" fmla="*/ 2147483647 w 5101"/>
              <a:gd name="T109" fmla="*/ 2147483647 h 2743"/>
              <a:gd name="T110" fmla="*/ 2147483647 w 5101"/>
              <a:gd name="T111" fmla="*/ 2147483647 h 2743"/>
              <a:gd name="T112" fmla="*/ 2147483647 w 5101"/>
              <a:gd name="T113" fmla="*/ 2147483647 h 2743"/>
              <a:gd name="T114" fmla="*/ 2147483647 w 5101"/>
              <a:gd name="T115" fmla="*/ 2147483647 h 2743"/>
              <a:gd name="T116" fmla="*/ 2147483647 w 5101"/>
              <a:gd name="T117" fmla="*/ 2147483647 h 2743"/>
              <a:gd name="T118" fmla="*/ 2147483647 w 5101"/>
              <a:gd name="T119" fmla="*/ 2147483647 h 2743"/>
              <a:gd name="T120" fmla="*/ 2147483647 w 5101"/>
              <a:gd name="T121" fmla="*/ 2147483647 h 2743"/>
              <a:gd name="T122" fmla="*/ 2147483647 w 5101"/>
              <a:gd name="T123" fmla="*/ 2147483647 h 2743"/>
              <a:gd name="T124" fmla="*/ 2147483647 w 5101"/>
              <a:gd name="T125" fmla="*/ 2147483647 h 274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01"/>
              <a:gd name="T190" fmla="*/ 0 h 2743"/>
              <a:gd name="T191" fmla="*/ 5101 w 5101"/>
              <a:gd name="T192" fmla="*/ 2743 h 274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01" h="2743">
                <a:moveTo>
                  <a:pt x="1127" y="1342"/>
                </a:moveTo>
                <a:lnTo>
                  <a:pt x="1131" y="1330"/>
                </a:lnTo>
                <a:lnTo>
                  <a:pt x="1134" y="1319"/>
                </a:lnTo>
                <a:lnTo>
                  <a:pt x="1142" y="1299"/>
                </a:lnTo>
                <a:lnTo>
                  <a:pt x="1150" y="1281"/>
                </a:lnTo>
                <a:lnTo>
                  <a:pt x="1160" y="1259"/>
                </a:lnTo>
                <a:lnTo>
                  <a:pt x="1181" y="1222"/>
                </a:lnTo>
                <a:lnTo>
                  <a:pt x="1193" y="1202"/>
                </a:lnTo>
                <a:lnTo>
                  <a:pt x="1208" y="1179"/>
                </a:lnTo>
                <a:lnTo>
                  <a:pt x="1215" y="1169"/>
                </a:lnTo>
                <a:lnTo>
                  <a:pt x="1223" y="1161"/>
                </a:lnTo>
                <a:lnTo>
                  <a:pt x="1236" y="1142"/>
                </a:lnTo>
                <a:lnTo>
                  <a:pt x="1252" y="1125"/>
                </a:lnTo>
                <a:lnTo>
                  <a:pt x="1268" y="1108"/>
                </a:lnTo>
                <a:lnTo>
                  <a:pt x="1284" y="1092"/>
                </a:lnTo>
                <a:lnTo>
                  <a:pt x="1302" y="1075"/>
                </a:lnTo>
                <a:lnTo>
                  <a:pt x="1321" y="1059"/>
                </a:lnTo>
                <a:lnTo>
                  <a:pt x="1342" y="1041"/>
                </a:lnTo>
                <a:lnTo>
                  <a:pt x="1361" y="1026"/>
                </a:lnTo>
                <a:lnTo>
                  <a:pt x="1382" y="1011"/>
                </a:lnTo>
                <a:lnTo>
                  <a:pt x="1402" y="996"/>
                </a:lnTo>
                <a:lnTo>
                  <a:pt x="1424" y="983"/>
                </a:lnTo>
                <a:lnTo>
                  <a:pt x="1467" y="956"/>
                </a:lnTo>
                <a:lnTo>
                  <a:pt x="1511" y="930"/>
                </a:lnTo>
                <a:lnTo>
                  <a:pt x="1534" y="918"/>
                </a:lnTo>
                <a:lnTo>
                  <a:pt x="1557" y="907"/>
                </a:lnTo>
                <a:lnTo>
                  <a:pt x="1581" y="895"/>
                </a:lnTo>
                <a:lnTo>
                  <a:pt x="1605" y="885"/>
                </a:lnTo>
                <a:lnTo>
                  <a:pt x="1653" y="864"/>
                </a:lnTo>
                <a:lnTo>
                  <a:pt x="1678" y="854"/>
                </a:lnTo>
                <a:lnTo>
                  <a:pt x="1702" y="846"/>
                </a:lnTo>
                <a:lnTo>
                  <a:pt x="1752" y="828"/>
                </a:lnTo>
                <a:lnTo>
                  <a:pt x="1777" y="820"/>
                </a:lnTo>
                <a:lnTo>
                  <a:pt x="1803" y="812"/>
                </a:lnTo>
                <a:lnTo>
                  <a:pt x="1853" y="799"/>
                </a:lnTo>
                <a:lnTo>
                  <a:pt x="1879" y="793"/>
                </a:lnTo>
                <a:lnTo>
                  <a:pt x="1903" y="787"/>
                </a:lnTo>
                <a:lnTo>
                  <a:pt x="1954" y="776"/>
                </a:lnTo>
                <a:lnTo>
                  <a:pt x="2004" y="766"/>
                </a:lnTo>
                <a:lnTo>
                  <a:pt x="2054" y="757"/>
                </a:lnTo>
                <a:lnTo>
                  <a:pt x="2079" y="755"/>
                </a:lnTo>
                <a:lnTo>
                  <a:pt x="2104" y="751"/>
                </a:lnTo>
                <a:lnTo>
                  <a:pt x="2154" y="745"/>
                </a:lnTo>
                <a:lnTo>
                  <a:pt x="2201" y="741"/>
                </a:lnTo>
                <a:lnTo>
                  <a:pt x="2249" y="738"/>
                </a:lnTo>
                <a:lnTo>
                  <a:pt x="2297" y="735"/>
                </a:lnTo>
                <a:lnTo>
                  <a:pt x="2342" y="734"/>
                </a:lnTo>
                <a:lnTo>
                  <a:pt x="2388" y="734"/>
                </a:lnTo>
                <a:lnTo>
                  <a:pt x="2432" y="735"/>
                </a:lnTo>
                <a:lnTo>
                  <a:pt x="2454" y="735"/>
                </a:lnTo>
                <a:lnTo>
                  <a:pt x="2475" y="736"/>
                </a:lnTo>
                <a:lnTo>
                  <a:pt x="2499" y="738"/>
                </a:lnTo>
                <a:lnTo>
                  <a:pt x="2519" y="739"/>
                </a:lnTo>
                <a:lnTo>
                  <a:pt x="2558" y="742"/>
                </a:lnTo>
                <a:lnTo>
                  <a:pt x="2595" y="746"/>
                </a:lnTo>
                <a:lnTo>
                  <a:pt x="2617" y="749"/>
                </a:lnTo>
                <a:lnTo>
                  <a:pt x="2637" y="751"/>
                </a:lnTo>
                <a:lnTo>
                  <a:pt x="2672" y="756"/>
                </a:lnTo>
                <a:lnTo>
                  <a:pt x="2710" y="762"/>
                </a:lnTo>
                <a:lnTo>
                  <a:pt x="2746" y="768"/>
                </a:lnTo>
                <a:lnTo>
                  <a:pt x="2780" y="776"/>
                </a:lnTo>
                <a:lnTo>
                  <a:pt x="2815" y="783"/>
                </a:lnTo>
                <a:lnTo>
                  <a:pt x="2847" y="790"/>
                </a:lnTo>
                <a:lnTo>
                  <a:pt x="2877" y="799"/>
                </a:lnTo>
                <a:lnTo>
                  <a:pt x="2907" y="807"/>
                </a:lnTo>
                <a:lnTo>
                  <a:pt x="2934" y="816"/>
                </a:lnTo>
                <a:lnTo>
                  <a:pt x="2961" y="825"/>
                </a:lnTo>
                <a:lnTo>
                  <a:pt x="3013" y="844"/>
                </a:lnTo>
                <a:lnTo>
                  <a:pt x="3060" y="863"/>
                </a:lnTo>
                <a:lnTo>
                  <a:pt x="3081" y="872"/>
                </a:lnTo>
                <a:lnTo>
                  <a:pt x="3102" y="882"/>
                </a:lnTo>
                <a:lnTo>
                  <a:pt x="3141" y="903"/>
                </a:lnTo>
                <a:lnTo>
                  <a:pt x="3176" y="923"/>
                </a:lnTo>
                <a:lnTo>
                  <a:pt x="3192" y="933"/>
                </a:lnTo>
                <a:lnTo>
                  <a:pt x="3208" y="942"/>
                </a:lnTo>
                <a:lnTo>
                  <a:pt x="3223" y="952"/>
                </a:lnTo>
                <a:lnTo>
                  <a:pt x="3237" y="962"/>
                </a:lnTo>
                <a:lnTo>
                  <a:pt x="3262" y="982"/>
                </a:lnTo>
                <a:lnTo>
                  <a:pt x="3284" y="1001"/>
                </a:lnTo>
                <a:lnTo>
                  <a:pt x="3305" y="1020"/>
                </a:lnTo>
                <a:lnTo>
                  <a:pt x="3322" y="1037"/>
                </a:lnTo>
                <a:lnTo>
                  <a:pt x="3338" y="1053"/>
                </a:lnTo>
                <a:lnTo>
                  <a:pt x="3352" y="1069"/>
                </a:lnTo>
                <a:lnTo>
                  <a:pt x="3364" y="1083"/>
                </a:lnTo>
                <a:lnTo>
                  <a:pt x="3375" y="1098"/>
                </a:lnTo>
                <a:lnTo>
                  <a:pt x="3385" y="1112"/>
                </a:lnTo>
                <a:lnTo>
                  <a:pt x="3392" y="1125"/>
                </a:lnTo>
                <a:lnTo>
                  <a:pt x="3400" y="1137"/>
                </a:lnTo>
                <a:lnTo>
                  <a:pt x="3405" y="1148"/>
                </a:lnTo>
                <a:lnTo>
                  <a:pt x="3413" y="1168"/>
                </a:lnTo>
                <a:lnTo>
                  <a:pt x="3421" y="1185"/>
                </a:lnTo>
                <a:lnTo>
                  <a:pt x="3425" y="1199"/>
                </a:lnTo>
                <a:lnTo>
                  <a:pt x="3430" y="1211"/>
                </a:lnTo>
                <a:lnTo>
                  <a:pt x="3435" y="1220"/>
                </a:lnTo>
                <a:lnTo>
                  <a:pt x="3439" y="1226"/>
                </a:lnTo>
                <a:lnTo>
                  <a:pt x="3441" y="1229"/>
                </a:lnTo>
                <a:lnTo>
                  <a:pt x="3445" y="1231"/>
                </a:lnTo>
                <a:lnTo>
                  <a:pt x="3446" y="1231"/>
                </a:lnTo>
                <a:lnTo>
                  <a:pt x="3448" y="1231"/>
                </a:lnTo>
                <a:lnTo>
                  <a:pt x="3450" y="1228"/>
                </a:lnTo>
                <a:lnTo>
                  <a:pt x="3454" y="1226"/>
                </a:lnTo>
                <a:lnTo>
                  <a:pt x="3455" y="1221"/>
                </a:lnTo>
                <a:lnTo>
                  <a:pt x="3457" y="1215"/>
                </a:lnTo>
                <a:lnTo>
                  <a:pt x="3459" y="1207"/>
                </a:lnTo>
                <a:lnTo>
                  <a:pt x="3460" y="1200"/>
                </a:lnTo>
                <a:lnTo>
                  <a:pt x="3461" y="1191"/>
                </a:lnTo>
                <a:lnTo>
                  <a:pt x="3461" y="1182"/>
                </a:lnTo>
                <a:lnTo>
                  <a:pt x="3460" y="1161"/>
                </a:lnTo>
                <a:lnTo>
                  <a:pt x="3457" y="1139"/>
                </a:lnTo>
                <a:lnTo>
                  <a:pt x="3452" y="1117"/>
                </a:lnTo>
                <a:lnTo>
                  <a:pt x="3450" y="1104"/>
                </a:lnTo>
                <a:lnTo>
                  <a:pt x="3446" y="1093"/>
                </a:lnTo>
                <a:lnTo>
                  <a:pt x="3443" y="1082"/>
                </a:lnTo>
                <a:lnTo>
                  <a:pt x="3438" y="1072"/>
                </a:lnTo>
                <a:lnTo>
                  <a:pt x="3428" y="1053"/>
                </a:lnTo>
                <a:lnTo>
                  <a:pt x="3421" y="1036"/>
                </a:lnTo>
                <a:lnTo>
                  <a:pt x="3407" y="1012"/>
                </a:lnTo>
                <a:lnTo>
                  <a:pt x="3403" y="1006"/>
                </a:lnTo>
                <a:lnTo>
                  <a:pt x="3402" y="1002"/>
                </a:lnTo>
                <a:lnTo>
                  <a:pt x="3403" y="1001"/>
                </a:lnTo>
                <a:lnTo>
                  <a:pt x="3403" y="1002"/>
                </a:lnTo>
                <a:lnTo>
                  <a:pt x="3408" y="1005"/>
                </a:lnTo>
                <a:lnTo>
                  <a:pt x="3418" y="1014"/>
                </a:lnTo>
                <a:lnTo>
                  <a:pt x="3430" y="1026"/>
                </a:lnTo>
                <a:lnTo>
                  <a:pt x="3445" y="1043"/>
                </a:lnTo>
                <a:lnTo>
                  <a:pt x="3452" y="1052"/>
                </a:lnTo>
                <a:lnTo>
                  <a:pt x="3460" y="1061"/>
                </a:lnTo>
                <a:lnTo>
                  <a:pt x="3467" y="1072"/>
                </a:lnTo>
                <a:lnTo>
                  <a:pt x="3475" y="1085"/>
                </a:lnTo>
                <a:lnTo>
                  <a:pt x="3482" y="1098"/>
                </a:lnTo>
                <a:lnTo>
                  <a:pt x="3489" y="1112"/>
                </a:lnTo>
                <a:lnTo>
                  <a:pt x="3495" y="1126"/>
                </a:lnTo>
                <a:lnTo>
                  <a:pt x="3501" y="1141"/>
                </a:lnTo>
                <a:lnTo>
                  <a:pt x="3508" y="1157"/>
                </a:lnTo>
                <a:lnTo>
                  <a:pt x="3513" y="1174"/>
                </a:lnTo>
                <a:lnTo>
                  <a:pt x="3514" y="1183"/>
                </a:lnTo>
                <a:lnTo>
                  <a:pt x="3516" y="1193"/>
                </a:lnTo>
                <a:lnTo>
                  <a:pt x="3519" y="1211"/>
                </a:lnTo>
                <a:lnTo>
                  <a:pt x="3520" y="1229"/>
                </a:lnTo>
                <a:lnTo>
                  <a:pt x="3520" y="1248"/>
                </a:lnTo>
                <a:lnTo>
                  <a:pt x="3519" y="1266"/>
                </a:lnTo>
                <a:lnTo>
                  <a:pt x="3516" y="1285"/>
                </a:lnTo>
                <a:lnTo>
                  <a:pt x="3513" y="1303"/>
                </a:lnTo>
                <a:lnTo>
                  <a:pt x="3508" y="1321"/>
                </a:lnTo>
                <a:lnTo>
                  <a:pt x="3505" y="1330"/>
                </a:lnTo>
                <a:lnTo>
                  <a:pt x="3503" y="1340"/>
                </a:lnTo>
                <a:lnTo>
                  <a:pt x="3497" y="1357"/>
                </a:lnTo>
                <a:lnTo>
                  <a:pt x="3489" y="1375"/>
                </a:lnTo>
                <a:lnTo>
                  <a:pt x="3481" y="1393"/>
                </a:lnTo>
                <a:lnTo>
                  <a:pt x="3476" y="1401"/>
                </a:lnTo>
                <a:lnTo>
                  <a:pt x="3472" y="1410"/>
                </a:lnTo>
                <a:lnTo>
                  <a:pt x="3462" y="1426"/>
                </a:lnTo>
                <a:lnTo>
                  <a:pt x="3451" y="1442"/>
                </a:lnTo>
                <a:lnTo>
                  <a:pt x="3440" y="1458"/>
                </a:lnTo>
                <a:lnTo>
                  <a:pt x="3418" y="1483"/>
                </a:lnTo>
                <a:lnTo>
                  <a:pt x="3398" y="1505"/>
                </a:lnTo>
                <a:lnTo>
                  <a:pt x="3384" y="1523"/>
                </a:lnTo>
                <a:lnTo>
                  <a:pt x="3380" y="1529"/>
                </a:lnTo>
                <a:lnTo>
                  <a:pt x="3378" y="1531"/>
                </a:lnTo>
                <a:lnTo>
                  <a:pt x="3376" y="1534"/>
                </a:lnTo>
                <a:lnTo>
                  <a:pt x="3376" y="1536"/>
                </a:lnTo>
                <a:lnTo>
                  <a:pt x="3378" y="1537"/>
                </a:lnTo>
                <a:lnTo>
                  <a:pt x="3379" y="1538"/>
                </a:lnTo>
                <a:lnTo>
                  <a:pt x="3380" y="1538"/>
                </a:lnTo>
                <a:lnTo>
                  <a:pt x="3383" y="1538"/>
                </a:lnTo>
                <a:lnTo>
                  <a:pt x="3386" y="1538"/>
                </a:lnTo>
                <a:lnTo>
                  <a:pt x="3391" y="1537"/>
                </a:lnTo>
                <a:lnTo>
                  <a:pt x="3396" y="1536"/>
                </a:lnTo>
                <a:lnTo>
                  <a:pt x="3407" y="1531"/>
                </a:lnTo>
                <a:lnTo>
                  <a:pt x="3423" y="1524"/>
                </a:lnTo>
                <a:lnTo>
                  <a:pt x="3441" y="1514"/>
                </a:lnTo>
                <a:lnTo>
                  <a:pt x="3465" y="1499"/>
                </a:lnTo>
                <a:lnTo>
                  <a:pt x="3477" y="1492"/>
                </a:lnTo>
                <a:lnTo>
                  <a:pt x="3489" y="1482"/>
                </a:lnTo>
                <a:lnTo>
                  <a:pt x="3504" y="1472"/>
                </a:lnTo>
                <a:lnTo>
                  <a:pt x="3517" y="1460"/>
                </a:lnTo>
                <a:lnTo>
                  <a:pt x="3532" y="1446"/>
                </a:lnTo>
                <a:lnTo>
                  <a:pt x="3547" y="1432"/>
                </a:lnTo>
                <a:lnTo>
                  <a:pt x="3562" y="1415"/>
                </a:lnTo>
                <a:lnTo>
                  <a:pt x="3569" y="1405"/>
                </a:lnTo>
                <a:lnTo>
                  <a:pt x="3576" y="1395"/>
                </a:lnTo>
                <a:lnTo>
                  <a:pt x="3590" y="1377"/>
                </a:lnTo>
                <a:lnTo>
                  <a:pt x="3603" y="1356"/>
                </a:lnTo>
                <a:lnTo>
                  <a:pt x="3609" y="1343"/>
                </a:lnTo>
                <a:lnTo>
                  <a:pt x="3616" y="1332"/>
                </a:lnTo>
                <a:lnTo>
                  <a:pt x="3622" y="1319"/>
                </a:lnTo>
                <a:lnTo>
                  <a:pt x="3627" y="1307"/>
                </a:lnTo>
                <a:lnTo>
                  <a:pt x="3632" y="1293"/>
                </a:lnTo>
                <a:lnTo>
                  <a:pt x="3635" y="1278"/>
                </a:lnTo>
                <a:lnTo>
                  <a:pt x="3639" y="1264"/>
                </a:lnTo>
                <a:lnTo>
                  <a:pt x="3641" y="1248"/>
                </a:lnTo>
                <a:lnTo>
                  <a:pt x="3643" y="1240"/>
                </a:lnTo>
                <a:lnTo>
                  <a:pt x="3644" y="1232"/>
                </a:lnTo>
                <a:lnTo>
                  <a:pt x="3644" y="1216"/>
                </a:lnTo>
                <a:lnTo>
                  <a:pt x="3645" y="1199"/>
                </a:lnTo>
                <a:lnTo>
                  <a:pt x="3644" y="1180"/>
                </a:lnTo>
                <a:lnTo>
                  <a:pt x="3643" y="1163"/>
                </a:lnTo>
                <a:lnTo>
                  <a:pt x="3641" y="1155"/>
                </a:lnTo>
                <a:lnTo>
                  <a:pt x="3640" y="1145"/>
                </a:lnTo>
                <a:lnTo>
                  <a:pt x="3636" y="1126"/>
                </a:lnTo>
                <a:lnTo>
                  <a:pt x="3632" y="1108"/>
                </a:lnTo>
                <a:lnTo>
                  <a:pt x="3625" y="1088"/>
                </a:lnTo>
                <a:lnTo>
                  <a:pt x="3617" y="1069"/>
                </a:lnTo>
                <a:lnTo>
                  <a:pt x="3606" y="1048"/>
                </a:lnTo>
                <a:lnTo>
                  <a:pt x="3593" y="1025"/>
                </a:lnTo>
                <a:lnTo>
                  <a:pt x="3580" y="1004"/>
                </a:lnTo>
                <a:lnTo>
                  <a:pt x="3566" y="983"/>
                </a:lnTo>
                <a:lnTo>
                  <a:pt x="3549" y="962"/>
                </a:lnTo>
                <a:lnTo>
                  <a:pt x="3541" y="951"/>
                </a:lnTo>
                <a:lnTo>
                  <a:pt x="3531" y="940"/>
                </a:lnTo>
                <a:lnTo>
                  <a:pt x="3520" y="928"/>
                </a:lnTo>
                <a:lnTo>
                  <a:pt x="3509" y="917"/>
                </a:lnTo>
                <a:lnTo>
                  <a:pt x="3498" y="906"/>
                </a:lnTo>
                <a:lnTo>
                  <a:pt x="3486" y="895"/>
                </a:lnTo>
                <a:lnTo>
                  <a:pt x="3457" y="871"/>
                </a:lnTo>
                <a:lnTo>
                  <a:pt x="3427" y="848"/>
                </a:lnTo>
                <a:lnTo>
                  <a:pt x="3411" y="836"/>
                </a:lnTo>
                <a:lnTo>
                  <a:pt x="3395" y="825"/>
                </a:lnTo>
                <a:lnTo>
                  <a:pt x="3378" y="814"/>
                </a:lnTo>
                <a:lnTo>
                  <a:pt x="3360" y="801"/>
                </a:lnTo>
                <a:lnTo>
                  <a:pt x="3342" y="790"/>
                </a:lnTo>
                <a:lnTo>
                  <a:pt x="3322" y="779"/>
                </a:lnTo>
                <a:lnTo>
                  <a:pt x="3283" y="757"/>
                </a:lnTo>
                <a:lnTo>
                  <a:pt x="3262" y="746"/>
                </a:lnTo>
                <a:lnTo>
                  <a:pt x="3240" y="736"/>
                </a:lnTo>
                <a:lnTo>
                  <a:pt x="3218" y="725"/>
                </a:lnTo>
                <a:lnTo>
                  <a:pt x="3195" y="716"/>
                </a:lnTo>
                <a:lnTo>
                  <a:pt x="3147" y="695"/>
                </a:lnTo>
                <a:lnTo>
                  <a:pt x="3121" y="685"/>
                </a:lnTo>
                <a:lnTo>
                  <a:pt x="3096" y="675"/>
                </a:lnTo>
                <a:lnTo>
                  <a:pt x="3069" y="666"/>
                </a:lnTo>
                <a:lnTo>
                  <a:pt x="3042" y="657"/>
                </a:lnTo>
                <a:lnTo>
                  <a:pt x="3013" y="648"/>
                </a:lnTo>
                <a:lnTo>
                  <a:pt x="2984" y="639"/>
                </a:lnTo>
                <a:lnTo>
                  <a:pt x="2954" y="632"/>
                </a:lnTo>
                <a:lnTo>
                  <a:pt x="2924" y="624"/>
                </a:lnTo>
                <a:lnTo>
                  <a:pt x="2892" y="616"/>
                </a:lnTo>
                <a:lnTo>
                  <a:pt x="2860" y="609"/>
                </a:lnTo>
                <a:lnTo>
                  <a:pt x="2827" y="603"/>
                </a:lnTo>
                <a:lnTo>
                  <a:pt x="2793" y="595"/>
                </a:lnTo>
                <a:lnTo>
                  <a:pt x="2758" y="589"/>
                </a:lnTo>
                <a:lnTo>
                  <a:pt x="2723" y="584"/>
                </a:lnTo>
                <a:lnTo>
                  <a:pt x="2687" y="579"/>
                </a:lnTo>
                <a:lnTo>
                  <a:pt x="2649" y="574"/>
                </a:lnTo>
                <a:lnTo>
                  <a:pt x="2611" y="570"/>
                </a:lnTo>
                <a:lnTo>
                  <a:pt x="2591" y="568"/>
                </a:lnTo>
                <a:lnTo>
                  <a:pt x="2572" y="566"/>
                </a:lnTo>
                <a:lnTo>
                  <a:pt x="2617" y="570"/>
                </a:lnTo>
                <a:lnTo>
                  <a:pt x="2639" y="572"/>
                </a:lnTo>
                <a:lnTo>
                  <a:pt x="2660" y="574"/>
                </a:lnTo>
                <a:lnTo>
                  <a:pt x="2703" y="579"/>
                </a:lnTo>
                <a:lnTo>
                  <a:pt x="2745" y="586"/>
                </a:lnTo>
                <a:lnTo>
                  <a:pt x="2786" y="592"/>
                </a:lnTo>
                <a:lnTo>
                  <a:pt x="2826" y="599"/>
                </a:lnTo>
                <a:lnTo>
                  <a:pt x="2865" y="606"/>
                </a:lnTo>
                <a:lnTo>
                  <a:pt x="2903" y="614"/>
                </a:lnTo>
                <a:lnTo>
                  <a:pt x="2940" y="622"/>
                </a:lnTo>
                <a:lnTo>
                  <a:pt x="2975" y="631"/>
                </a:lnTo>
                <a:lnTo>
                  <a:pt x="3011" y="641"/>
                </a:lnTo>
                <a:lnTo>
                  <a:pt x="3045" y="651"/>
                </a:lnTo>
                <a:lnTo>
                  <a:pt x="3078" y="662"/>
                </a:lnTo>
                <a:lnTo>
                  <a:pt x="3111" y="671"/>
                </a:lnTo>
                <a:lnTo>
                  <a:pt x="3142" y="684"/>
                </a:lnTo>
                <a:lnTo>
                  <a:pt x="3173" y="695"/>
                </a:lnTo>
                <a:lnTo>
                  <a:pt x="3202" y="707"/>
                </a:lnTo>
                <a:lnTo>
                  <a:pt x="3232" y="719"/>
                </a:lnTo>
                <a:lnTo>
                  <a:pt x="3260" y="731"/>
                </a:lnTo>
                <a:lnTo>
                  <a:pt x="3287" y="744"/>
                </a:lnTo>
                <a:lnTo>
                  <a:pt x="3313" y="757"/>
                </a:lnTo>
                <a:lnTo>
                  <a:pt x="3337" y="771"/>
                </a:lnTo>
                <a:lnTo>
                  <a:pt x="3362" y="784"/>
                </a:lnTo>
                <a:lnTo>
                  <a:pt x="3385" y="798"/>
                </a:lnTo>
                <a:lnTo>
                  <a:pt x="3408" y="811"/>
                </a:lnTo>
                <a:lnTo>
                  <a:pt x="3430" y="826"/>
                </a:lnTo>
                <a:lnTo>
                  <a:pt x="3451" y="841"/>
                </a:lnTo>
                <a:lnTo>
                  <a:pt x="3471" y="854"/>
                </a:lnTo>
                <a:lnTo>
                  <a:pt x="3489" y="869"/>
                </a:lnTo>
                <a:lnTo>
                  <a:pt x="3508" y="884"/>
                </a:lnTo>
                <a:lnTo>
                  <a:pt x="3526" y="898"/>
                </a:lnTo>
                <a:lnTo>
                  <a:pt x="3542" y="913"/>
                </a:lnTo>
                <a:lnTo>
                  <a:pt x="3558" y="928"/>
                </a:lnTo>
                <a:lnTo>
                  <a:pt x="3571" y="942"/>
                </a:lnTo>
                <a:lnTo>
                  <a:pt x="3585" y="957"/>
                </a:lnTo>
                <a:lnTo>
                  <a:pt x="3598" y="972"/>
                </a:lnTo>
                <a:lnTo>
                  <a:pt x="3611" y="987"/>
                </a:lnTo>
                <a:lnTo>
                  <a:pt x="3622" y="1001"/>
                </a:lnTo>
                <a:lnTo>
                  <a:pt x="3641" y="1031"/>
                </a:lnTo>
                <a:lnTo>
                  <a:pt x="3650" y="1045"/>
                </a:lnTo>
                <a:lnTo>
                  <a:pt x="3658" y="1060"/>
                </a:lnTo>
                <a:lnTo>
                  <a:pt x="3666" y="1074"/>
                </a:lnTo>
                <a:lnTo>
                  <a:pt x="3673" y="1088"/>
                </a:lnTo>
                <a:lnTo>
                  <a:pt x="3679" y="1103"/>
                </a:lnTo>
                <a:lnTo>
                  <a:pt x="3684" y="1117"/>
                </a:lnTo>
                <a:lnTo>
                  <a:pt x="3689" y="1131"/>
                </a:lnTo>
                <a:lnTo>
                  <a:pt x="3693" y="1145"/>
                </a:lnTo>
                <a:lnTo>
                  <a:pt x="3699" y="1173"/>
                </a:lnTo>
                <a:lnTo>
                  <a:pt x="3701" y="1186"/>
                </a:lnTo>
                <a:lnTo>
                  <a:pt x="3704" y="1200"/>
                </a:lnTo>
                <a:lnTo>
                  <a:pt x="3705" y="1227"/>
                </a:lnTo>
                <a:lnTo>
                  <a:pt x="3705" y="1239"/>
                </a:lnTo>
                <a:lnTo>
                  <a:pt x="3705" y="1253"/>
                </a:lnTo>
                <a:lnTo>
                  <a:pt x="3704" y="1265"/>
                </a:lnTo>
                <a:lnTo>
                  <a:pt x="3703" y="1278"/>
                </a:lnTo>
                <a:lnTo>
                  <a:pt x="3701" y="1291"/>
                </a:lnTo>
                <a:lnTo>
                  <a:pt x="3699" y="1303"/>
                </a:lnTo>
                <a:lnTo>
                  <a:pt x="3693" y="1328"/>
                </a:lnTo>
                <a:lnTo>
                  <a:pt x="3689" y="1339"/>
                </a:lnTo>
                <a:lnTo>
                  <a:pt x="3685" y="1351"/>
                </a:lnTo>
                <a:lnTo>
                  <a:pt x="3681" y="1362"/>
                </a:lnTo>
                <a:lnTo>
                  <a:pt x="3676" y="1374"/>
                </a:lnTo>
                <a:lnTo>
                  <a:pt x="3666" y="1396"/>
                </a:lnTo>
                <a:lnTo>
                  <a:pt x="3654" y="1418"/>
                </a:lnTo>
                <a:lnTo>
                  <a:pt x="3641" y="1438"/>
                </a:lnTo>
                <a:lnTo>
                  <a:pt x="3628" y="1459"/>
                </a:lnTo>
                <a:lnTo>
                  <a:pt x="3613" y="1477"/>
                </a:lnTo>
                <a:lnTo>
                  <a:pt x="3597" y="1496"/>
                </a:lnTo>
                <a:lnTo>
                  <a:pt x="3581" y="1513"/>
                </a:lnTo>
                <a:lnTo>
                  <a:pt x="3573" y="1521"/>
                </a:lnTo>
                <a:lnTo>
                  <a:pt x="3564" y="1530"/>
                </a:lnTo>
                <a:lnTo>
                  <a:pt x="3547" y="1546"/>
                </a:lnTo>
                <a:lnTo>
                  <a:pt x="3528" y="1561"/>
                </a:lnTo>
                <a:lnTo>
                  <a:pt x="3510" y="1575"/>
                </a:lnTo>
                <a:lnTo>
                  <a:pt x="3500" y="1583"/>
                </a:lnTo>
                <a:lnTo>
                  <a:pt x="3490" y="1589"/>
                </a:lnTo>
                <a:lnTo>
                  <a:pt x="3471" y="1602"/>
                </a:lnTo>
                <a:lnTo>
                  <a:pt x="3451" y="1614"/>
                </a:lnTo>
                <a:lnTo>
                  <a:pt x="3432" y="1627"/>
                </a:lnTo>
                <a:lnTo>
                  <a:pt x="3411" y="1639"/>
                </a:lnTo>
                <a:lnTo>
                  <a:pt x="3391" y="1650"/>
                </a:lnTo>
                <a:lnTo>
                  <a:pt x="3351" y="1670"/>
                </a:lnTo>
                <a:lnTo>
                  <a:pt x="3331" y="1679"/>
                </a:lnTo>
                <a:lnTo>
                  <a:pt x="3311" y="1688"/>
                </a:lnTo>
                <a:lnTo>
                  <a:pt x="3273" y="1704"/>
                </a:lnTo>
                <a:lnTo>
                  <a:pt x="3235" y="1718"/>
                </a:lnTo>
                <a:lnTo>
                  <a:pt x="3197" y="1730"/>
                </a:lnTo>
                <a:lnTo>
                  <a:pt x="3161" y="1741"/>
                </a:lnTo>
                <a:lnTo>
                  <a:pt x="3125" y="1751"/>
                </a:lnTo>
                <a:lnTo>
                  <a:pt x="3091" y="1759"/>
                </a:lnTo>
                <a:lnTo>
                  <a:pt x="3059" y="1767"/>
                </a:lnTo>
                <a:lnTo>
                  <a:pt x="2999" y="1779"/>
                </a:lnTo>
                <a:lnTo>
                  <a:pt x="2945" y="1787"/>
                </a:lnTo>
                <a:lnTo>
                  <a:pt x="2896" y="1795"/>
                </a:lnTo>
                <a:lnTo>
                  <a:pt x="2854" y="1798"/>
                </a:lnTo>
                <a:lnTo>
                  <a:pt x="2817" y="1802"/>
                </a:lnTo>
                <a:lnTo>
                  <a:pt x="2762" y="1805"/>
                </a:lnTo>
                <a:lnTo>
                  <a:pt x="2725" y="1808"/>
                </a:lnTo>
                <a:lnTo>
                  <a:pt x="2714" y="1810"/>
                </a:lnTo>
                <a:lnTo>
                  <a:pt x="2707" y="1811"/>
                </a:lnTo>
                <a:lnTo>
                  <a:pt x="2704" y="1812"/>
                </a:lnTo>
                <a:lnTo>
                  <a:pt x="2704" y="1813"/>
                </a:lnTo>
                <a:lnTo>
                  <a:pt x="2705" y="1813"/>
                </a:lnTo>
                <a:lnTo>
                  <a:pt x="2708" y="1816"/>
                </a:lnTo>
                <a:lnTo>
                  <a:pt x="2713" y="1817"/>
                </a:lnTo>
                <a:lnTo>
                  <a:pt x="2723" y="1819"/>
                </a:lnTo>
                <a:lnTo>
                  <a:pt x="2735" y="1821"/>
                </a:lnTo>
                <a:lnTo>
                  <a:pt x="2747" y="1822"/>
                </a:lnTo>
                <a:lnTo>
                  <a:pt x="2762" y="1823"/>
                </a:lnTo>
                <a:lnTo>
                  <a:pt x="2795" y="1825"/>
                </a:lnTo>
                <a:lnTo>
                  <a:pt x="2832" y="1827"/>
                </a:lnTo>
                <a:lnTo>
                  <a:pt x="2872" y="1828"/>
                </a:lnTo>
                <a:lnTo>
                  <a:pt x="2915" y="1828"/>
                </a:lnTo>
                <a:lnTo>
                  <a:pt x="2936" y="1827"/>
                </a:lnTo>
                <a:lnTo>
                  <a:pt x="2958" y="1827"/>
                </a:lnTo>
                <a:lnTo>
                  <a:pt x="2979" y="1825"/>
                </a:lnTo>
                <a:lnTo>
                  <a:pt x="3000" y="1823"/>
                </a:lnTo>
                <a:lnTo>
                  <a:pt x="3039" y="1821"/>
                </a:lnTo>
                <a:lnTo>
                  <a:pt x="3073" y="1817"/>
                </a:lnTo>
                <a:lnTo>
                  <a:pt x="3127" y="1810"/>
                </a:lnTo>
                <a:lnTo>
                  <a:pt x="3159" y="1806"/>
                </a:lnTo>
                <a:lnTo>
                  <a:pt x="3165" y="1805"/>
                </a:lnTo>
                <a:lnTo>
                  <a:pt x="3165" y="1806"/>
                </a:lnTo>
                <a:lnTo>
                  <a:pt x="3164" y="1807"/>
                </a:lnTo>
                <a:lnTo>
                  <a:pt x="3154" y="1810"/>
                </a:lnTo>
                <a:lnTo>
                  <a:pt x="3140" y="1814"/>
                </a:lnTo>
                <a:lnTo>
                  <a:pt x="3118" y="1821"/>
                </a:lnTo>
                <a:lnTo>
                  <a:pt x="3088" y="1827"/>
                </a:lnTo>
                <a:lnTo>
                  <a:pt x="3053" y="1834"/>
                </a:lnTo>
                <a:lnTo>
                  <a:pt x="3010" y="1840"/>
                </a:lnTo>
                <a:lnTo>
                  <a:pt x="2986" y="1843"/>
                </a:lnTo>
                <a:lnTo>
                  <a:pt x="2959" y="1846"/>
                </a:lnTo>
                <a:lnTo>
                  <a:pt x="2932" y="1849"/>
                </a:lnTo>
                <a:lnTo>
                  <a:pt x="2902" y="1851"/>
                </a:lnTo>
                <a:lnTo>
                  <a:pt x="2872" y="1854"/>
                </a:lnTo>
                <a:lnTo>
                  <a:pt x="2840" y="1855"/>
                </a:lnTo>
                <a:lnTo>
                  <a:pt x="2809" y="1856"/>
                </a:lnTo>
                <a:lnTo>
                  <a:pt x="2777" y="1856"/>
                </a:lnTo>
                <a:lnTo>
                  <a:pt x="2710" y="1855"/>
                </a:lnTo>
                <a:lnTo>
                  <a:pt x="2676" y="1854"/>
                </a:lnTo>
                <a:lnTo>
                  <a:pt x="2643" y="1852"/>
                </a:lnTo>
                <a:lnTo>
                  <a:pt x="2610" y="1850"/>
                </a:lnTo>
                <a:lnTo>
                  <a:pt x="2577" y="1848"/>
                </a:lnTo>
                <a:lnTo>
                  <a:pt x="2512" y="1840"/>
                </a:lnTo>
                <a:lnTo>
                  <a:pt x="2481" y="1836"/>
                </a:lnTo>
                <a:lnTo>
                  <a:pt x="2450" y="1832"/>
                </a:lnTo>
                <a:lnTo>
                  <a:pt x="2420" y="1827"/>
                </a:lnTo>
                <a:lnTo>
                  <a:pt x="2391" y="1822"/>
                </a:lnTo>
                <a:lnTo>
                  <a:pt x="2366" y="1816"/>
                </a:lnTo>
                <a:lnTo>
                  <a:pt x="2341" y="1811"/>
                </a:lnTo>
                <a:lnTo>
                  <a:pt x="2298" y="1801"/>
                </a:lnTo>
                <a:lnTo>
                  <a:pt x="2264" y="1794"/>
                </a:lnTo>
                <a:lnTo>
                  <a:pt x="2252" y="1791"/>
                </a:lnTo>
                <a:lnTo>
                  <a:pt x="2243" y="1790"/>
                </a:lnTo>
                <a:lnTo>
                  <a:pt x="2234" y="1790"/>
                </a:lnTo>
                <a:lnTo>
                  <a:pt x="2232" y="1791"/>
                </a:lnTo>
                <a:lnTo>
                  <a:pt x="2231" y="1791"/>
                </a:lnTo>
                <a:lnTo>
                  <a:pt x="2231" y="1794"/>
                </a:lnTo>
                <a:lnTo>
                  <a:pt x="2232" y="1795"/>
                </a:lnTo>
                <a:lnTo>
                  <a:pt x="2233" y="1797"/>
                </a:lnTo>
                <a:lnTo>
                  <a:pt x="2237" y="1800"/>
                </a:lnTo>
                <a:lnTo>
                  <a:pt x="2247" y="1807"/>
                </a:lnTo>
                <a:lnTo>
                  <a:pt x="2264" y="1816"/>
                </a:lnTo>
                <a:lnTo>
                  <a:pt x="2286" y="1825"/>
                </a:lnTo>
                <a:lnTo>
                  <a:pt x="2314" y="1838"/>
                </a:lnTo>
                <a:lnTo>
                  <a:pt x="2352" y="1851"/>
                </a:lnTo>
                <a:lnTo>
                  <a:pt x="2376" y="1859"/>
                </a:lnTo>
                <a:lnTo>
                  <a:pt x="2401" y="1866"/>
                </a:lnTo>
                <a:lnTo>
                  <a:pt x="2428" y="1873"/>
                </a:lnTo>
                <a:lnTo>
                  <a:pt x="2459" y="1881"/>
                </a:lnTo>
                <a:lnTo>
                  <a:pt x="2492" y="1888"/>
                </a:lnTo>
                <a:lnTo>
                  <a:pt x="2529" y="1895"/>
                </a:lnTo>
                <a:lnTo>
                  <a:pt x="2568" y="1901"/>
                </a:lnTo>
                <a:lnTo>
                  <a:pt x="2590" y="1904"/>
                </a:lnTo>
                <a:lnTo>
                  <a:pt x="2612" y="1906"/>
                </a:lnTo>
                <a:lnTo>
                  <a:pt x="2659" y="1911"/>
                </a:lnTo>
                <a:lnTo>
                  <a:pt x="2709" y="1916"/>
                </a:lnTo>
                <a:lnTo>
                  <a:pt x="2735" y="1917"/>
                </a:lnTo>
                <a:lnTo>
                  <a:pt x="2762" y="1919"/>
                </a:lnTo>
                <a:lnTo>
                  <a:pt x="2817" y="1920"/>
                </a:lnTo>
                <a:lnTo>
                  <a:pt x="2877" y="1920"/>
                </a:lnTo>
                <a:lnTo>
                  <a:pt x="2940" y="1919"/>
                </a:lnTo>
                <a:lnTo>
                  <a:pt x="2972" y="1916"/>
                </a:lnTo>
                <a:lnTo>
                  <a:pt x="2988" y="1915"/>
                </a:lnTo>
                <a:lnTo>
                  <a:pt x="3007" y="1914"/>
                </a:lnTo>
                <a:lnTo>
                  <a:pt x="3012" y="1914"/>
                </a:lnTo>
                <a:lnTo>
                  <a:pt x="3019" y="1913"/>
                </a:lnTo>
                <a:lnTo>
                  <a:pt x="3035" y="1911"/>
                </a:lnTo>
                <a:lnTo>
                  <a:pt x="3055" y="1909"/>
                </a:lnTo>
                <a:lnTo>
                  <a:pt x="3077" y="1906"/>
                </a:lnTo>
                <a:lnTo>
                  <a:pt x="3149" y="1895"/>
                </a:lnTo>
                <a:lnTo>
                  <a:pt x="3185" y="1890"/>
                </a:lnTo>
                <a:lnTo>
                  <a:pt x="3203" y="1887"/>
                </a:lnTo>
                <a:lnTo>
                  <a:pt x="3224" y="1882"/>
                </a:lnTo>
                <a:lnTo>
                  <a:pt x="3302" y="1865"/>
                </a:lnTo>
                <a:lnTo>
                  <a:pt x="3340" y="1855"/>
                </a:lnTo>
                <a:lnTo>
                  <a:pt x="3359" y="1849"/>
                </a:lnTo>
                <a:lnTo>
                  <a:pt x="3380" y="1843"/>
                </a:lnTo>
                <a:lnTo>
                  <a:pt x="3401" y="1836"/>
                </a:lnTo>
                <a:lnTo>
                  <a:pt x="3421" y="1830"/>
                </a:lnTo>
                <a:lnTo>
                  <a:pt x="3441" y="1823"/>
                </a:lnTo>
                <a:lnTo>
                  <a:pt x="3461" y="1816"/>
                </a:lnTo>
                <a:lnTo>
                  <a:pt x="3481" y="1808"/>
                </a:lnTo>
                <a:lnTo>
                  <a:pt x="3500" y="1801"/>
                </a:lnTo>
                <a:lnTo>
                  <a:pt x="3538" y="1786"/>
                </a:lnTo>
                <a:lnTo>
                  <a:pt x="3558" y="1776"/>
                </a:lnTo>
                <a:lnTo>
                  <a:pt x="3579" y="1768"/>
                </a:lnTo>
                <a:lnTo>
                  <a:pt x="3598" y="1758"/>
                </a:lnTo>
                <a:lnTo>
                  <a:pt x="3618" y="1748"/>
                </a:lnTo>
                <a:lnTo>
                  <a:pt x="3655" y="1729"/>
                </a:lnTo>
                <a:lnTo>
                  <a:pt x="3692" y="1709"/>
                </a:lnTo>
                <a:lnTo>
                  <a:pt x="3710" y="1698"/>
                </a:lnTo>
                <a:lnTo>
                  <a:pt x="3728" y="1686"/>
                </a:lnTo>
                <a:lnTo>
                  <a:pt x="3764" y="1660"/>
                </a:lnTo>
                <a:lnTo>
                  <a:pt x="3781" y="1648"/>
                </a:lnTo>
                <a:lnTo>
                  <a:pt x="3798" y="1634"/>
                </a:lnTo>
                <a:lnTo>
                  <a:pt x="3830" y="1610"/>
                </a:lnTo>
                <a:lnTo>
                  <a:pt x="3862" y="1579"/>
                </a:lnTo>
                <a:lnTo>
                  <a:pt x="3892" y="1551"/>
                </a:lnTo>
                <a:lnTo>
                  <a:pt x="3905" y="1536"/>
                </a:lnTo>
                <a:lnTo>
                  <a:pt x="3919" y="1520"/>
                </a:lnTo>
                <a:lnTo>
                  <a:pt x="3931" y="1504"/>
                </a:lnTo>
                <a:lnTo>
                  <a:pt x="3943" y="1487"/>
                </a:lnTo>
                <a:lnTo>
                  <a:pt x="3966" y="1449"/>
                </a:lnTo>
                <a:lnTo>
                  <a:pt x="3986" y="1418"/>
                </a:lnTo>
                <a:lnTo>
                  <a:pt x="3993" y="1404"/>
                </a:lnTo>
                <a:lnTo>
                  <a:pt x="4002" y="1385"/>
                </a:lnTo>
                <a:lnTo>
                  <a:pt x="4006" y="1375"/>
                </a:lnTo>
                <a:lnTo>
                  <a:pt x="4009" y="1366"/>
                </a:lnTo>
                <a:lnTo>
                  <a:pt x="4013" y="1354"/>
                </a:lnTo>
                <a:lnTo>
                  <a:pt x="4017" y="1343"/>
                </a:lnTo>
                <a:lnTo>
                  <a:pt x="4013" y="1356"/>
                </a:lnTo>
                <a:lnTo>
                  <a:pt x="4009" y="1367"/>
                </a:lnTo>
                <a:lnTo>
                  <a:pt x="4002" y="1386"/>
                </a:lnTo>
                <a:lnTo>
                  <a:pt x="3993" y="1405"/>
                </a:lnTo>
                <a:lnTo>
                  <a:pt x="3984" y="1427"/>
                </a:lnTo>
                <a:lnTo>
                  <a:pt x="3963" y="1464"/>
                </a:lnTo>
                <a:lnTo>
                  <a:pt x="3950" y="1483"/>
                </a:lnTo>
                <a:lnTo>
                  <a:pt x="3936" y="1507"/>
                </a:lnTo>
                <a:lnTo>
                  <a:pt x="3928" y="1516"/>
                </a:lnTo>
                <a:lnTo>
                  <a:pt x="3921" y="1525"/>
                </a:lnTo>
                <a:lnTo>
                  <a:pt x="3907" y="1543"/>
                </a:lnTo>
                <a:lnTo>
                  <a:pt x="3892" y="1561"/>
                </a:lnTo>
                <a:lnTo>
                  <a:pt x="3876" y="1578"/>
                </a:lnTo>
                <a:lnTo>
                  <a:pt x="3860" y="1594"/>
                </a:lnTo>
                <a:lnTo>
                  <a:pt x="3841" y="1611"/>
                </a:lnTo>
                <a:lnTo>
                  <a:pt x="3823" y="1627"/>
                </a:lnTo>
                <a:lnTo>
                  <a:pt x="3802" y="1645"/>
                </a:lnTo>
                <a:lnTo>
                  <a:pt x="3782" y="1660"/>
                </a:lnTo>
                <a:lnTo>
                  <a:pt x="3762" y="1675"/>
                </a:lnTo>
                <a:lnTo>
                  <a:pt x="3742" y="1689"/>
                </a:lnTo>
                <a:lnTo>
                  <a:pt x="3720" y="1703"/>
                </a:lnTo>
                <a:lnTo>
                  <a:pt x="3677" y="1730"/>
                </a:lnTo>
                <a:lnTo>
                  <a:pt x="3633" y="1756"/>
                </a:lnTo>
                <a:lnTo>
                  <a:pt x="3609" y="1768"/>
                </a:lnTo>
                <a:lnTo>
                  <a:pt x="3586" y="1779"/>
                </a:lnTo>
                <a:lnTo>
                  <a:pt x="3563" y="1791"/>
                </a:lnTo>
                <a:lnTo>
                  <a:pt x="3538" y="1801"/>
                </a:lnTo>
                <a:lnTo>
                  <a:pt x="3490" y="1822"/>
                </a:lnTo>
                <a:lnTo>
                  <a:pt x="3466" y="1832"/>
                </a:lnTo>
                <a:lnTo>
                  <a:pt x="3441" y="1840"/>
                </a:lnTo>
                <a:lnTo>
                  <a:pt x="3391" y="1857"/>
                </a:lnTo>
                <a:lnTo>
                  <a:pt x="3367" y="1866"/>
                </a:lnTo>
                <a:lnTo>
                  <a:pt x="3341" y="1873"/>
                </a:lnTo>
                <a:lnTo>
                  <a:pt x="3291" y="1887"/>
                </a:lnTo>
                <a:lnTo>
                  <a:pt x="3265" y="1893"/>
                </a:lnTo>
                <a:lnTo>
                  <a:pt x="3240" y="1899"/>
                </a:lnTo>
                <a:lnTo>
                  <a:pt x="3190" y="1910"/>
                </a:lnTo>
                <a:lnTo>
                  <a:pt x="3140" y="1920"/>
                </a:lnTo>
                <a:lnTo>
                  <a:pt x="3089" y="1928"/>
                </a:lnTo>
                <a:lnTo>
                  <a:pt x="3065" y="1931"/>
                </a:lnTo>
                <a:lnTo>
                  <a:pt x="3039" y="1935"/>
                </a:lnTo>
                <a:lnTo>
                  <a:pt x="2990" y="1941"/>
                </a:lnTo>
                <a:lnTo>
                  <a:pt x="2942" y="1944"/>
                </a:lnTo>
                <a:lnTo>
                  <a:pt x="2894" y="1948"/>
                </a:lnTo>
                <a:lnTo>
                  <a:pt x="2847" y="1951"/>
                </a:lnTo>
                <a:lnTo>
                  <a:pt x="2801" y="1952"/>
                </a:lnTo>
                <a:lnTo>
                  <a:pt x="2756" y="1952"/>
                </a:lnTo>
                <a:lnTo>
                  <a:pt x="2712" y="1951"/>
                </a:lnTo>
                <a:lnTo>
                  <a:pt x="2690" y="1951"/>
                </a:lnTo>
                <a:lnTo>
                  <a:pt x="2669" y="1949"/>
                </a:lnTo>
                <a:lnTo>
                  <a:pt x="2644" y="1948"/>
                </a:lnTo>
                <a:lnTo>
                  <a:pt x="2625" y="1947"/>
                </a:lnTo>
                <a:lnTo>
                  <a:pt x="2585" y="1943"/>
                </a:lnTo>
                <a:lnTo>
                  <a:pt x="2548" y="1940"/>
                </a:lnTo>
                <a:lnTo>
                  <a:pt x="2526" y="1937"/>
                </a:lnTo>
                <a:lnTo>
                  <a:pt x="2507" y="1935"/>
                </a:lnTo>
                <a:lnTo>
                  <a:pt x="2471" y="1930"/>
                </a:lnTo>
                <a:lnTo>
                  <a:pt x="2433" y="1924"/>
                </a:lnTo>
                <a:lnTo>
                  <a:pt x="2396" y="1916"/>
                </a:lnTo>
                <a:lnTo>
                  <a:pt x="2362" y="1910"/>
                </a:lnTo>
                <a:lnTo>
                  <a:pt x="2329" y="1903"/>
                </a:lnTo>
                <a:lnTo>
                  <a:pt x="2297" y="1894"/>
                </a:lnTo>
                <a:lnTo>
                  <a:pt x="2266" y="1887"/>
                </a:lnTo>
                <a:lnTo>
                  <a:pt x="2237" y="1878"/>
                </a:lnTo>
                <a:lnTo>
                  <a:pt x="2210" y="1870"/>
                </a:lnTo>
                <a:lnTo>
                  <a:pt x="2183" y="1861"/>
                </a:lnTo>
                <a:lnTo>
                  <a:pt x="2130" y="1841"/>
                </a:lnTo>
                <a:lnTo>
                  <a:pt x="2084" y="1823"/>
                </a:lnTo>
                <a:lnTo>
                  <a:pt x="2063" y="1813"/>
                </a:lnTo>
                <a:lnTo>
                  <a:pt x="2042" y="1803"/>
                </a:lnTo>
                <a:lnTo>
                  <a:pt x="2003" y="1783"/>
                </a:lnTo>
                <a:lnTo>
                  <a:pt x="1967" y="1763"/>
                </a:lnTo>
                <a:lnTo>
                  <a:pt x="1951" y="1753"/>
                </a:lnTo>
                <a:lnTo>
                  <a:pt x="1935" y="1743"/>
                </a:lnTo>
                <a:lnTo>
                  <a:pt x="1921" y="1733"/>
                </a:lnTo>
                <a:lnTo>
                  <a:pt x="1907" y="1724"/>
                </a:lnTo>
                <a:lnTo>
                  <a:pt x="1881" y="1704"/>
                </a:lnTo>
                <a:lnTo>
                  <a:pt x="1859" y="1684"/>
                </a:lnTo>
                <a:lnTo>
                  <a:pt x="1838" y="1666"/>
                </a:lnTo>
                <a:lnTo>
                  <a:pt x="1821" y="1649"/>
                </a:lnTo>
                <a:lnTo>
                  <a:pt x="1805" y="1633"/>
                </a:lnTo>
                <a:lnTo>
                  <a:pt x="1792" y="1617"/>
                </a:lnTo>
                <a:lnTo>
                  <a:pt x="1779" y="1601"/>
                </a:lnTo>
                <a:lnTo>
                  <a:pt x="1768" y="1588"/>
                </a:lnTo>
                <a:lnTo>
                  <a:pt x="1759" y="1574"/>
                </a:lnTo>
                <a:lnTo>
                  <a:pt x="1751" y="1561"/>
                </a:lnTo>
                <a:lnTo>
                  <a:pt x="1744" y="1548"/>
                </a:lnTo>
                <a:lnTo>
                  <a:pt x="1739" y="1537"/>
                </a:lnTo>
                <a:lnTo>
                  <a:pt x="1729" y="1518"/>
                </a:lnTo>
                <a:lnTo>
                  <a:pt x="1723" y="1500"/>
                </a:lnTo>
                <a:lnTo>
                  <a:pt x="1718" y="1487"/>
                </a:lnTo>
                <a:lnTo>
                  <a:pt x="1713" y="1475"/>
                </a:lnTo>
                <a:lnTo>
                  <a:pt x="1708" y="1466"/>
                </a:lnTo>
                <a:lnTo>
                  <a:pt x="1705" y="1460"/>
                </a:lnTo>
                <a:lnTo>
                  <a:pt x="1702" y="1456"/>
                </a:lnTo>
                <a:lnTo>
                  <a:pt x="1699" y="1455"/>
                </a:lnTo>
                <a:lnTo>
                  <a:pt x="1697" y="1455"/>
                </a:lnTo>
                <a:lnTo>
                  <a:pt x="1696" y="1455"/>
                </a:lnTo>
                <a:lnTo>
                  <a:pt x="1694" y="1458"/>
                </a:lnTo>
                <a:lnTo>
                  <a:pt x="1690" y="1460"/>
                </a:lnTo>
                <a:lnTo>
                  <a:pt x="1689" y="1465"/>
                </a:lnTo>
                <a:lnTo>
                  <a:pt x="1686" y="1471"/>
                </a:lnTo>
                <a:lnTo>
                  <a:pt x="1685" y="1478"/>
                </a:lnTo>
                <a:lnTo>
                  <a:pt x="1684" y="1486"/>
                </a:lnTo>
                <a:lnTo>
                  <a:pt x="1683" y="1494"/>
                </a:lnTo>
                <a:lnTo>
                  <a:pt x="1683" y="1504"/>
                </a:lnTo>
                <a:lnTo>
                  <a:pt x="1684" y="1525"/>
                </a:lnTo>
                <a:lnTo>
                  <a:pt x="1686" y="1547"/>
                </a:lnTo>
                <a:lnTo>
                  <a:pt x="1691" y="1569"/>
                </a:lnTo>
                <a:lnTo>
                  <a:pt x="1694" y="1581"/>
                </a:lnTo>
                <a:lnTo>
                  <a:pt x="1697" y="1592"/>
                </a:lnTo>
                <a:lnTo>
                  <a:pt x="1701" y="1603"/>
                </a:lnTo>
                <a:lnTo>
                  <a:pt x="1706" y="1613"/>
                </a:lnTo>
                <a:lnTo>
                  <a:pt x="1714" y="1633"/>
                </a:lnTo>
                <a:lnTo>
                  <a:pt x="1723" y="1650"/>
                </a:lnTo>
                <a:lnTo>
                  <a:pt x="1737" y="1673"/>
                </a:lnTo>
                <a:lnTo>
                  <a:pt x="1740" y="1679"/>
                </a:lnTo>
                <a:lnTo>
                  <a:pt x="1741" y="1683"/>
                </a:lnTo>
                <a:lnTo>
                  <a:pt x="1740" y="1684"/>
                </a:lnTo>
                <a:lnTo>
                  <a:pt x="1740" y="1683"/>
                </a:lnTo>
                <a:lnTo>
                  <a:pt x="1735" y="1681"/>
                </a:lnTo>
                <a:lnTo>
                  <a:pt x="1725" y="1672"/>
                </a:lnTo>
                <a:lnTo>
                  <a:pt x="1713" y="1660"/>
                </a:lnTo>
                <a:lnTo>
                  <a:pt x="1699" y="1643"/>
                </a:lnTo>
                <a:lnTo>
                  <a:pt x="1691" y="1634"/>
                </a:lnTo>
                <a:lnTo>
                  <a:pt x="1684" y="1624"/>
                </a:lnTo>
                <a:lnTo>
                  <a:pt x="1676" y="1613"/>
                </a:lnTo>
                <a:lnTo>
                  <a:pt x="1669" y="1601"/>
                </a:lnTo>
                <a:lnTo>
                  <a:pt x="1662" y="1588"/>
                </a:lnTo>
                <a:lnTo>
                  <a:pt x="1654" y="1574"/>
                </a:lnTo>
                <a:lnTo>
                  <a:pt x="1648" y="1559"/>
                </a:lnTo>
                <a:lnTo>
                  <a:pt x="1642" y="1545"/>
                </a:lnTo>
                <a:lnTo>
                  <a:pt x="1636" y="1529"/>
                </a:lnTo>
                <a:lnTo>
                  <a:pt x="1631" y="1511"/>
                </a:lnTo>
                <a:lnTo>
                  <a:pt x="1630" y="1502"/>
                </a:lnTo>
                <a:lnTo>
                  <a:pt x="1627" y="1493"/>
                </a:lnTo>
                <a:lnTo>
                  <a:pt x="1625" y="1475"/>
                </a:lnTo>
                <a:lnTo>
                  <a:pt x="1624" y="1456"/>
                </a:lnTo>
                <a:lnTo>
                  <a:pt x="1624" y="1438"/>
                </a:lnTo>
                <a:lnTo>
                  <a:pt x="1625" y="1419"/>
                </a:lnTo>
                <a:lnTo>
                  <a:pt x="1627" y="1401"/>
                </a:lnTo>
                <a:lnTo>
                  <a:pt x="1631" y="1383"/>
                </a:lnTo>
                <a:lnTo>
                  <a:pt x="1636" y="1364"/>
                </a:lnTo>
                <a:lnTo>
                  <a:pt x="1638" y="1356"/>
                </a:lnTo>
                <a:lnTo>
                  <a:pt x="1641" y="1346"/>
                </a:lnTo>
                <a:lnTo>
                  <a:pt x="1647" y="1329"/>
                </a:lnTo>
                <a:lnTo>
                  <a:pt x="1654" y="1310"/>
                </a:lnTo>
                <a:lnTo>
                  <a:pt x="1663" y="1293"/>
                </a:lnTo>
                <a:lnTo>
                  <a:pt x="1668" y="1285"/>
                </a:lnTo>
                <a:lnTo>
                  <a:pt x="1672" y="1276"/>
                </a:lnTo>
                <a:lnTo>
                  <a:pt x="1681" y="1260"/>
                </a:lnTo>
                <a:lnTo>
                  <a:pt x="1692" y="1244"/>
                </a:lnTo>
                <a:lnTo>
                  <a:pt x="1703" y="1228"/>
                </a:lnTo>
                <a:lnTo>
                  <a:pt x="1725" y="1202"/>
                </a:lnTo>
                <a:lnTo>
                  <a:pt x="1746" y="1179"/>
                </a:lnTo>
                <a:lnTo>
                  <a:pt x="1760" y="1162"/>
                </a:lnTo>
                <a:lnTo>
                  <a:pt x="1765" y="1156"/>
                </a:lnTo>
                <a:lnTo>
                  <a:pt x="1766" y="1153"/>
                </a:lnTo>
                <a:lnTo>
                  <a:pt x="1766" y="1152"/>
                </a:lnTo>
                <a:lnTo>
                  <a:pt x="1767" y="1150"/>
                </a:lnTo>
                <a:lnTo>
                  <a:pt x="1767" y="1147"/>
                </a:lnTo>
                <a:lnTo>
                  <a:pt x="1766" y="1146"/>
                </a:lnTo>
                <a:lnTo>
                  <a:pt x="1765" y="1146"/>
                </a:lnTo>
                <a:lnTo>
                  <a:pt x="1762" y="1145"/>
                </a:lnTo>
                <a:lnTo>
                  <a:pt x="1759" y="1145"/>
                </a:lnTo>
                <a:lnTo>
                  <a:pt x="1755" y="1146"/>
                </a:lnTo>
                <a:lnTo>
                  <a:pt x="1750" y="1147"/>
                </a:lnTo>
                <a:lnTo>
                  <a:pt x="1738" y="1152"/>
                </a:lnTo>
                <a:lnTo>
                  <a:pt x="1730" y="1156"/>
                </a:lnTo>
                <a:lnTo>
                  <a:pt x="1722" y="1161"/>
                </a:lnTo>
                <a:lnTo>
                  <a:pt x="1702" y="1172"/>
                </a:lnTo>
                <a:lnTo>
                  <a:pt x="1679" y="1186"/>
                </a:lnTo>
                <a:lnTo>
                  <a:pt x="1674" y="1189"/>
                </a:lnTo>
                <a:lnTo>
                  <a:pt x="1668" y="1194"/>
                </a:lnTo>
                <a:lnTo>
                  <a:pt x="1654" y="1202"/>
                </a:lnTo>
                <a:lnTo>
                  <a:pt x="1641" y="1215"/>
                </a:lnTo>
                <a:lnTo>
                  <a:pt x="1626" y="1227"/>
                </a:lnTo>
                <a:lnTo>
                  <a:pt x="1611" y="1240"/>
                </a:lnTo>
                <a:lnTo>
                  <a:pt x="1597" y="1256"/>
                </a:lnTo>
                <a:lnTo>
                  <a:pt x="1582" y="1272"/>
                </a:lnTo>
                <a:lnTo>
                  <a:pt x="1567" y="1291"/>
                </a:lnTo>
                <a:lnTo>
                  <a:pt x="1554" y="1310"/>
                </a:lnTo>
                <a:lnTo>
                  <a:pt x="1546" y="1321"/>
                </a:lnTo>
                <a:lnTo>
                  <a:pt x="1540" y="1332"/>
                </a:lnTo>
                <a:lnTo>
                  <a:pt x="1534" y="1343"/>
                </a:lnTo>
                <a:lnTo>
                  <a:pt x="1528" y="1356"/>
                </a:lnTo>
                <a:lnTo>
                  <a:pt x="1522" y="1368"/>
                </a:lnTo>
                <a:lnTo>
                  <a:pt x="1517" y="1380"/>
                </a:lnTo>
                <a:lnTo>
                  <a:pt x="1512" y="1394"/>
                </a:lnTo>
                <a:lnTo>
                  <a:pt x="1508" y="1408"/>
                </a:lnTo>
                <a:lnTo>
                  <a:pt x="1505" y="1423"/>
                </a:lnTo>
                <a:lnTo>
                  <a:pt x="1502" y="1438"/>
                </a:lnTo>
                <a:lnTo>
                  <a:pt x="1500" y="1454"/>
                </a:lnTo>
                <a:lnTo>
                  <a:pt x="1500" y="1470"/>
                </a:lnTo>
                <a:lnTo>
                  <a:pt x="1499" y="1487"/>
                </a:lnTo>
                <a:lnTo>
                  <a:pt x="1500" y="1505"/>
                </a:lnTo>
                <a:lnTo>
                  <a:pt x="1501" y="1514"/>
                </a:lnTo>
                <a:lnTo>
                  <a:pt x="1501" y="1523"/>
                </a:lnTo>
                <a:lnTo>
                  <a:pt x="1503" y="1541"/>
                </a:lnTo>
                <a:lnTo>
                  <a:pt x="1508" y="1559"/>
                </a:lnTo>
                <a:lnTo>
                  <a:pt x="1513" y="1579"/>
                </a:lnTo>
                <a:lnTo>
                  <a:pt x="1519" y="1599"/>
                </a:lnTo>
                <a:lnTo>
                  <a:pt x="1528" y="1619"/>
                </a:lnTo>
                <a:lnTo>
                  <a:pt x="1538" y="1640"/>
                </a:lnTo>
                <a:lnTo>
                  <a:pt x="1550" y="1661"/>
                </a:lnTo>
                <a:lnTo>
                  <a:pt x="1564" y="1682"/>
                </a:lnTo>
                <a:lnTo>
                  <a:pt x="1580" y="1704"/>
                </a:lnTo>
                <a:lnTo>
                  <a:pt x="1597" y="1726"/>
                </a:lnTo>
                <a:lnTo>
                  <a:pt x="1607" y="1737"/>
                </a:lnTo>
                <a:lnTo>
                  <a:pt x="1616" y="1748"/>
                </a:lnTo>
                <a:lnTo>
                  <a:pt x="1637" y="1770"/>
                </a:lnTo>
                <a:lnTo>
                  <a:pt x="1662" y="1792"/>
                </a:lnTo>
                <a:lnTo>
                  <a:pt x="1674" y="1805"/>
                </a:lnTo>
                <a:lnTo>
                  <a:pt x="1687" y="1816"/>
                </a:lnTo>
                <a:lnTo>
                  <a:pt x="1717" y="1838"/>
                </a:lnTo>
                <a:lnTo>
                  <a:pt x="1732" y="1850"/>
                </a:lnTo>
                <a:lnTo>
                  <a:pt x="1749" y="1861"/>
                </a:lnTo>
                <a:lnTo>
                  <a:pt x="1766" y="1872"/>
                </a:lnTo>
                <a:lnTo>
                  <a:pt x="1783" y="1884"/>
                </a:lnTo>
                <a:lnTo>
                  <a:pt x="1802" y="1895"/>
                </a:lnTo>
                <a:lnTo>
                  <a:pt x="1821" y="1906"/>
                </a:lnTo>
                <a:lnTo>
                  <a:pt x="1860" y="1928"/>
                </a:lnTo>
                <a:lnTo>
                  <a:pt x="1881" y="1940"/>
                </a:lnTo>
                <a:lnTo>
                  <a:pt x="1903" y="1949"/>
                </a:lnTo>
                <a:lnTo>
                  <a:pt x="1925" y="1960"/>
                </a:lnTo>
                <a:lnTo>
                  <a:pt x="1949" y="1970"/>
                </a:lnTo>
                <a:lnTo>
                  <a:pt x="1997" y="1991"/>
                </a:lnTo>
                <a:lnTo>
                  <a:pt x="2022" y="2001"/>
                </a:lnTo>
                <a:lnTo>
                  <a:pt x="2048" y="2011"/>
                </a:lnTo>
                <a:lnTo>
                  <a:pt x="2075" y="2019"/>
                </a:lnTo>
                <a:lnTo>
                  <a:pt x="2102" y="2029"/>
                </a:lnTo>
                <a:lnTo>
                  <a:pt x="2130" y="2038"/>
                </a:lnTo>
                <a:lnTo>
                  <a:pt x="2160" y="2046"/>
                </a:lnTo>
                <a:lnTo>
                  <a:pt x="2189" y="2054"/>
                </a:lnTo>
                <a:lnTo>
                  <a:pt x="2220" y="2062"/>
                </a:lnTo>
                <a:lnTo>
                  <a:pt x="2252" y="2070"/>
                </a:lnTo>
                <a:lnTo>
                  <a:pt x="2284" y="2077"/>
                </a:lnTo>
                <a:lnTo>
                  <a:pt x="2317" y="2083"/>
                </a:lnTo>
                <a:lnTo>
                  <a:pt x="2351" y="2090"/>
                </a:lnTo>
                <a:lnTo>
                  <a:pt x="2385" y="2096"/>
                </a:lnTo>
                <a:lnTo>
                  <a:pt x="2421" y="2101"/>
                </a:lnTo>
                <a:lnTo>
                  <a:pt x="2456" y="2106"/>
                </a:lnTo>
                <a:lnTo>
                  <a:pt x="2495" y="2111"/>
                </a:lnTo>
                <a:lnTo>
                  <a:pt x="2533" y="2116"/>
                </a:lnTo>
                <a:lnTo>
                  <a:pt x="2552" y="2117"/>
                </a:lnTo>
                <a:lnTo>
                  <a:pt x="2572" y="2120"/>
                </a:lnTo>
                <a:lnTo>
                  <a:pt x="2526" y="2116"/>
                </a:lnTo>
                <a:lnTo>
                  <a:pt x="2504" y="2114"/>
                </a:lnTo>
                <a:lnTo>
                  <a:pt x="2483" y="2111"/>
                </a:lnTo>
                <a:lnTo>
                  <a:pt x="2441" y="2106"/>
                </a:lnTo>
                <a:lnTo>
                  <a:pt x="2399" y="2100"/>
                </a:lnTo>
                <a:lnTo>
                  <a:pt x="2357" y="2094"/>
                </a:lnTo>
                <a:lnTo>
                  <a:pt x="2318" y="2087"/>
                </a:lnTo>
                <a:lnTo>
                  <a:pt x="2279" y="2079"/>
                </a:lnTo>
                <a:lnTo>
                  <a:pt x="2241" y="2072"/>
                </a:lnTo>
                <a:lnTo>
                  <a:pt x="2204" y="2063"/>
                </a:lnTo>
                <a:lnTo>
                  <a:pt x="2168" y="2055"/>
                </a:lnTo>
                <a:lnTo>
                  <a:pt x="2133" y="2045"/>
                </a:lnTo>
                <a:lnTo>
                  <a:pt x="2098" y="2035"/>
                </a:lnTo>
                <a:lnTo>
                  <a:pt x="2065" y="2024"/>
                </a:lnTo>
                <a:lnTo>
                  <a:pt x="2032" y="2014"/>
                </a:lnTo>
                <a:lnTo>
                  <a:pt x="2001" y="2002"/>
                </a:lnTo>
                <a:lnTo>
                  <a:pt x="1971" y="1991"/>
                </a:lnTo>
                <a:lnTo>
                  <a:pt x="1941" y="1979"/>
                </a:lnTo>
                <a:lnTo>
                  <a:pt x="1912" y="1966"/>
                </a:lnTo>
                <a:lnTo>
                  <a:pt x="1884" y="1954"/>
                </a:lnTo>
                <a:lnTo>
                  <a:pt x="1857" y="1942"/>
                </a:lnTo>
                <a:lnTo>
                  <a:pt x="1831" y="1928"/>
                </a:lnTo>
                <a:lnTo>
                  <a:pt x="1806" y="1915"/>
                </a:lnTo>
                <a:lnTo>
                  <a:pt x="1782" y="1901"/>
                </a:lnTo>
                <a:lnTo>
                  <a:pt x="1759" y="1888"/>
                </a:lnTo>
                <a:lnTo>
                  <a:pt x="1735" y="1875"/>
                </a:lnTo>
                <a:lnTo>
                  <a:pt x="1713" y="1860"/>
                </a:lnTo>
                <a:lnTo>
                  <a:pt x="1692" y="1845"/>
                </a:lnTo>
                <a:lnTo>
                  <a:pt x="1673" y="1832"/>
                </a:lnTo>
                <a:lnTo>
                  <a:pt x="1654" y="1817"/>
                </a:lnTo>
                <a:lnTo>
                  <a:pt x="1636" y="1802"/>
                </a:lnTo>
                <a:lnTo>
                  <a:pt x="1618" y="1787"/>
                </a:lnTo>
                <a:lnTo>
                  <a:pt x="1602" y="1773"/>
                </a:lnTo>
                <a:lnTo>
                  <a:pt x="1586" y="1758"/>
                </a:lnTo>
                <a:lnTo>
                  <a:pt x="1572" y="1743"/>
                </a:lnTo>
                <a:lnTo>
                  <a:pt x="1559" y="1729"/>
                </a:lnTo>
                <a:lnTo>
                  <a:pt x="1545" y="1714"/>
                </a:lnTo>
                <a:lnTo>
                  <a:pt x="1533" y="1699"/>
                </a:lnTo>
                <a:lnTo>
                  <a:pt x="1522" y="1684"/>
                </a:lnTo>
                <a:lnTo>
                  <a:pt x="1502" y="1655"/>
                </a:lnTo>
                <a:lnTo>
                  <a:pt x="1494" y="1640"/>
                </a:lnTo>
                <a:lnTo>
                  <a:pt x="1485" y="1626"/>
                </a:lnTo>
                <a:lnTo>
                  <a:pt x="1478" y="1612"/>
                </a:lnTo>
                <a:lnTo>
                  <a:pt x="1470" y="1597"/>
                </a:lnTo>
                <a:lnTo>
                  <a:pt x="1464" y="1583"/>
                </a:lnTo>
                <a:lnTo>
                  <a:pt x="1459" y="1569"/>
                </a:lnTo>
                <a:lnTo>
                  <a:pt x="1454" y="1554"/>
                </a:lnTo>
                <a:lnTo>
                  <a:pt x="1451" y="1541"/>
                </a:lnTo>
                <a:lnTo>
                  <a:pt x="1445" y="1513"/>
                </a:lnTo>
                <a:lnTo>
                  <a:pt x="1442" y="1499"/>
                </a:lnTo>
                <a:lnTo>
                  <a:pt x="1440" y="1486"/>
                </a:lnTo>
                <a:lnTo>
                  <a:pt x="1438" y="1459"/>
                </a:lnTo>
                <a:lnTo>
                  <a:pt x="1438" y="1446"/>
                </a:lnTo>
                <a:lnTo>
                  <a:pt x="1438" y="1433"/>
                </a:lnTo>
                <a:lnTo>
                  <a:pt x="1440" y="1421"/>
                </a:lnTo>
                <a:lnTo>
                  <a:pt x="1441" y="1407"/>
                </a:lnTo>
                <a:lnTo>
                  <a:pt x="1442" y="1395"/>
                </a:lnTo>
                <a:lnTo>
                  <a:pt x="1445" y="1383"/>
                </a:lnTo>
                <a:lnTo>
                  <a:pt x="1451" y="1358"/>
                </a:lnTo>
                <a:lnTo>
                  <a:pt x="1454" y="1347"/>
                </a:lnTo>
                <a:lnTo>
                  <a:pt x="1458" y="1335"/>
                </a:lnTo>
                <a:lnTo>
                  <a:pt x="1463" y="1324"/>
                </a:lnTo>
                <a:lnTo>
                  <a:pt x="1468" y="1312"/>
                </a:lnTo>
                <a:lnTo>
                  <a:pt x="1478" y="1289"/>
                </a:lnTo>
                <a:lnTo>
                  <a:pt x="1490" y="1267"/>
                </a:lnTo>
                <a:lnTo>
                  <a:pt x="1502" y="1248"/>
                </a:lnTo>
                <a:lnTo>
                  <a:pt x="1516" y="1227"/>
                </a:lnTo>
                <a:lnTo>
                  <a:pt x="1530" y="1209"/>
                </a:lnTo>
                <a:lnTo>
                  <a:pt x="1546" y="1190"/>
                </a:lnTo>
                <a:lnTo>
                  <a:pt x="1562" y="1173"/>
                </a:lnTo>
                <a:lnTo>
                  <a:pt x="1571" y="1164"/>
                </a:lnTo>
                <a:lnTo>
                  <a:pt x="1580" y="1156"/>
                </a:lnTo>
                <a:lnTo>
                  <a:pt x="1597" y="1140"/>
                </a:lnTo>
                <a:lnTo>
                  <a:pt x="1615" y="1125"/>
                </a:lnTo>
                <a:lnTo>
                  <a:pt x="1634" y="1110"/>
                </a:lnTo>
                <a:lnTo>
                  <a:pt x="1643" y="1103"/>
                </a:lnTo>
                <a:lnTo>
                  <a:pt x="1653" y="1097"/>
                </a:lnTo>
                <a:lnTo>
                  <a:pt x="1673" y="1083"/>
                </a:lnTo>
                <a:lnTo>
                  <a:pt x="1692" y="1071"/>
                </a:lnTo>
                <a:lnTo>
                  <a:pt x="1712" y="1059"/>
                </a:lnTo>
                <a:lnTo>
                  <a:pt x="1733" y="1047"/>
                </a:lnTo>
                <a:lnTo>
                  <a:pt x="1752" y="1036"/>
                </a:lnTo>
                <a:lnTo>
                  <a:pt x="1773" y="1025"/>
                </a:lnTo>
                <a:lnTo>
                  <a:pt x="1793" y="1015"/>
                </a:lnTo>
                <a:lnTo>
                  <a:pt x="1833" y="998"/>
                </a:lnTo>
                <a:lnTo>
                  <a:pt x="1873" y="982"/>
                </a:lnTo>
                <a:lnTo>
                  <a:pt x="1911" y="967"/>
                </a:lnTo>
                <a:lnTo>
                  <a:pt x="1947" y="955"/>
                </a:lnTo>
                <a:lnTo>
                  <a:pt x="1984" y="945"/>
                </a:lnTo>
                <a:lnTo>
                  <a:pt x="2019" y="935"/>
                </a:lnTo>
                <a:lnTo>
                  <a:pt x="2054" y="926"/>
                </a:lnTo>
                <a:lnTo>
                  <a:pt x="2087" y="919"/>
                </a:lnTo>
                <a:lnTo>
                  <a:pt x="2118" y="912"/>
                </a:lnTo>
                <a:lnTo>
                  <a:pt x="2147" y="907"/>
                </a:lnTo>
                <a:lnTo>
                  <a:pt x="2176" y="902"/>
                </a:lnTo>
                <a:lnTo>
                  <a:pt x="2201" y="897"/>
                </a:lnTo>
                <a:lnTo>
                  <a:pt x="2249" y="891"/>
                </a:lnTo>
                <a:lnTo>
                  <a:pt x="2291" y="886"/>
                </a:lnTo>
                <a:lnTo>
                  <a:pt x="2326" y="884"/>
                </a:lnTo>
                <a:lnTo>
                  <a:pt x="2382" y="881"/>
                </a:lnTo>
                <a:lnTo>
                  <a:pt x="2418" y="877"/>
                </a:lnTo>
                <a:lnTo>
                  <a:pt x="2430" y="876"/>
                </a:lnTo>
                <a:lnTo>
                  <a:pt x="2437" y="875"/>
                </a:lnTo>
                <a:lnTo>
                  <a:pt x="2439" y="874"/>
                </a:lnTo>
                <a:lnTo>
                  <a:pt x="2439" y="872"/>
                </a:lnTo>
                <a:lnTo>
                  <a:pt x="2438" y="871"/>
                </a:lnTo>
                <a:lnTo>
                  <a:pt x="2436" y="870"/>
                </a:lnTo>
                <a:lnTo>
                  <a:pt x="2431" y="869"/>
                </a:lnTo>
                <a:lnTo>
                  <a:pt x="2421" y="866"/>
                </a:lnTo>
                <a:lnTo>
                  <a:pt x="2409" y="865"/>
                </a:lnTo>
                <a:lnTo>
                  <a:pt x="2396" y="864"/>
                </a:lnTo>
                <a:lnTo>
                  <a:pt x="2382" y="863"/>
                </a:lnTo>
                <a:lnTo>
                  <a:pt x="2349" y="860"/>
                </a:lnTo>
                <a:lnTo>
                  <a:pt x="2312" y="858"/>
                </a:lnTo>
                <a:lnTo>
                  <a:pt x="2271" y="858"/>
                </a:lnTo>
                <a:lnTo>
                  <a:pt x="2228" y="858"/>
                </a:lnTo>
                <a:lnTo>
                  <a:pt x="2208" y="859"/>
                </a:lnTo>
                <a:lnTo>
                  <a:pt x="2185" y="859"/>
                </a:lnTo>
                <a:lnTo>
                  <a:pt x="2165" y="860"/>
                </a:lnTo>
                <a:lnTo>
                  <a:pt x="2144" y="863"/>
                </a:lnTo>
                <a:lnTo>
                  <a:pt x="2106" y="865"/>
                </a:lnTo>
                <a:lnTo>
                  <a:pt x="2071" y="869"/>
                </a:lnTo>
                <a:lnTo>
                  <a:pt x="2042" y="872"/>
                </a:lnTo>
                <a:lnTo>
                  <a:pt x="2016" y="876"/>
                </a:lnTo>
                <a:lnTo>
                  <a:pt x="1998" y="879"/>
                </a:lnTo>
                <a:lnTo>
                  <a:pt x="1986" y="880"/>
                </a:lnTo>
                <a:lnTo>
                  <a:pt x="1982" y="880"/>
                </a:lnTo>
                <a:lnTo>
                  <a:pt x="1981" y="880"/>
                </a:lnTo>
                <a:lnTo>
                  <a:pt x="1979" y="881"/>
                </a:lnTo>
                <a:lnTo>
                  <a:pt x="1981" y="879"/>
                </a:lnTo>
                <a:lnTo>
                  <a:pt x="1979" y="879"/>
                </a:lnTo>
                <a:lnTo>
                  <a:pt x="1992" y="875"/>
                </a:lnTo>
                <a:lnTo>
                  <a:pt x="2006" y="871"/>
                </a:lnTo>
                <a:lnTo>
                  <a:pt x="2057" y="860"/>
                </a:lnTo>
                <a:lnTo>
                  <a:pt x="2090" y="854"/>
                </a:lnTo>
                <a:lnTo>
                  <a:pt x="2136" y="846"/>
                </a:lnTo>
                <a:lnTo>
                  <a:pt x="2160" y="843"/>
                </a:lnTo>
                <a:lnTo>
                  <a:pt x="2185" y="839"/>
                </a:lnTo>
                <a:lnTo>
                  <a:pt x="2212" y="837"/>
                </a:lnTo>
                <a:lnTo>
                  <a:pt x="2242" y="834"/>
                </a:lnTo>
                <a:lnTo>
                  <a:pt x="2302" y="831"/>
                </a:lnTo>
                <a:lnTo>
                  <a:pt x="2368" y="828"/>
                </a:lnTo>
                <a:lnTo>
                  <a:pt x="2437" y="828"/>
                </a:lnTo>
                <a:lnTo>
                  <a:pt x="2470" y="830"/>
                </a:lnTo>
                <a:lnTo>
                  <a:pt x="2502" y="832"/>
                </a:lnTo>
                <a:lnTo>
                  <a:pt x="2537" y="834"/>
                </a:lnTo>
                <a:lnTo>
                  <a:pt x="2572" y="837"/>
                </a:lnTo>
                <a:lnTo>
                  <a:pt x="2604" y="841"/>
                </a:lnTo>
                <a:lnTo>
                  <a:pt x="2634" y="844"/>
                </a:lnTo>
                <a:lnTo>
                  <a:pt x="2664" y="848"/>
                </a:lnTo>
                <a:lnTo>
                  <a:pt x="2693" y="853"/>
                </a:lnTo>
                <a:lnTo>
                  <a:pt x="2752" y="864"/>
                </a:lnTo>
                <a:lnTo>
                  <a:pt x="2801" y="875"/>
                </a:lnTo>
                <a:lnTo>
                  <a:pt x="2844" y="885"/>
                </a:lnTo>
                <a:lnTo>
                  <a:pt x="2877" y="892"/>
                </a:lnTo>
                <a:lnTo>
                  <a:pt x="2891" y="895"/>
                </a:lnTo>
                <a:lnTo>
                  <a:pt x="2902" y="896"/>
                </a:lnTo>
                <a:lnTo>
                  <a:pt x="2908" y="896"/>
                </a:lnTo>
                <a:lnTo>
                  <a:pt x="2909" y="895"/>
                </a:lnTo>
                <a:lnTo>
                  <a:pt x="2910" y="893"/>
                </a:lnTo>
                <a:lnTo>
                  <a:pt x="2910" y="892"/>
                </a:lnTo>
                <a:lnTo>
                  <a:pt x="2910" y="890"/>
                </a:lnTo>
                <a:lnTo>
                  <a:pt x="2908" y="888"/>
                </a:lnTo>
                <a:lnTo>
                  <a:pt x="2905" y="885"/>
                </a:lnTo>
                <a:lnTo>
                  <a:pt x="2894" y="879"/>
                </a:lnTo>
                <a:lnTo>
                  <a:pt x="2880" y="870"/>
                </a:lnTo>
                <a:lnTo>
                  <a:pt x="2858" y="860"/>
                </a:lnTo>
                <a:lnTo>
                  <a:pt x="2829" y="848"/>
                </a:lnTo>
                <a:lnTo>
                  <a:pt x="2791" y="834"/>
                </a:lnTo>
                <a:lnTo>
                  <a:pt x="2769" y="827"/>
                </a:lnTo>
                <a:lnTo>
                  <a:pt x="2745" y="820"/>
                </a:lnTo>
                <a:lnTo>
                  <a:pt x="2718" y="812"/>
                </a:lnTo>
                <a:lnTo>
                  <a:pt x="2687" y="805"/>
                </a:lnTo>
                <a:lnTo>
                  <a:pt x="2653" y="798"/>
                </a:lnTo>
                <a:lnTo>
                  <a:pt x="2615" y="790"/>
                </a:lnTo>
                <a:lnTo>
                  <a:pt x="2574" y="784"/>
                </a:lnTo>
                <a:lnTo>
                  <a:pt x="2553" y="782"/>
                </a:lnTo>
                <a:lnTo>
                  <a:pt x="2531" y="779"/>
                </a:lnTo>
                <a:lnTo>
                  <a:pt x="2485" y="774"/>
                </a:lnTo>
                <a:lnTo>
                  <a:pt x="2434" y="769"/>
                </a:lnTo>
                <a:lnTo>
                  <a:pt x="2409" y="768"/>
                </a:lnTo>
                <a:lnTo>
                  <a:pt x="2382" y="767"/>
                </a:lnTo>
                <a:lnTo>
                  <a:pt x="2325" y="766"/>
                </a:lnTo>
                <a:lnTo>
                  <a:pt x="2266" y="766"/>
                </a:lnTo>
                <a:lnTo>
                  <a:pt x="2204" y="767"/>
                </a:lnTo>
                <a:lnTo>
                  <a:pt x="2169" y="769"/>
                </a:lnTo>
                <a:lnTo>
                  <a:pt x="2134" y="773"/>
                </a:lnTo>
                <a:lnTo>
                  <a:pt x="2100" y="776"/>
                </a:lnTo>
                <a:lnTo>
                  <a:pt x="2064" y="781"/>
                </a:lnTo>
                <a:lnTo>
                  <a:pt x="2028" y="784"/>
                </a:lnTo>
                <a:lnTo>
                  <a:pt x="1992" y="790"/>
                </a:lnTo>
                <a:lnTo>
                  <a:pt x="1956" y="796"/>
                </a:lnTo>
                <a:lnTo>
                  <a:pt x="1918" y="803"/>
                </a:lnTo>
                <a:lnTo>
                  <a:pt x="1881" y="811"/>
                </a:lnTo>
                <a:lnTo>
                  <a:pt x="1843" y="820"/>
                </a:lnTo>
                <a:lnTo>
                  <a:pt x="1805" y="830"/>
                </a:lnTo>
                <a:lnTo>
                  <a:pt x="1766" y="842"/>
                </a:lnTo>
                <a:lnTo>
                  <a:pt x="1727" y="854"/>
                </a:lnTo>
                <a:lnTo>
                  <a:pt x="1687" y="868"/>
                </a:lnTo>
                <a:lnTo>
                  <a:pt x="1647" y="884"/>
                </a:lnTo>
                <a:lnTo>
                  <a:pt x="1605" y="899"/>
                </a:lnTo>
                <a:lnTo>
                  <a:pt x="1586" y="909"/>
                </a:lnTo>
                <a:lnTo>
                  <a:pt x="1565" y="918"/>
                </a:lnTo>
                <a:lnTo>
                  <a:pt x="1545" y="928"/>
                </a:lnTo>
                <a:lnTo>
                  <a:pt x="1526" y="937"/>
                </a:lnTo>
                <a:lnTo>
                  <a:pt x="1489" y="957"/>
                </a:lnTo>
                <a:lnTo>
                  <a:pt x="1452" y="977"/>
                </a:lnTo>
                <a:lnTo>
                  <a:pt x="1434" y="988"/>
                </a:lnTo>
                <a:lnTo>
                  <a:pt x="1415" y="1000"/>
                </a:lnTo>
                <a:lnTo>
                  <a:pt x="1380" y="1026"/>
                </a:lnTo>
                <a:lnTo>
                  <a:pt x="1362" y="1038"/>
                </a:lnTo>
                <a:lnTo>
                  <a:pt x="1345" y="1052"/>
                </a:lnTo>
                <a:lnTo>
                  <a:pt x="1313" y="1076"/>
                </a:lnTo>
                <a:lnTo>
                  <a:pt x="1281" y="1107"/>
                </a:lnTo>
                <a:lnTo>
                  <a:pt x="1252" y="1135"/>
                </a:lnTo>
                <a:lnTo>
                  <a:pt x="1239" y="1150"/>
                </a:lnTo>
                <a:lnTo>
                  <a:pt x="1225" y="1166"/>
                </a:lnTo>
                <a:lnTo>
                  <a:pt x="1213" y="1182"/>
                </a:lnTo>
                <a:lnTo>
                  <a:pt x="1201" y="1199"/>
                </a:lnTo>
                <a:lnTo>
                  <a:pt x="1177" y="1237"/>
                </a:lnTo>
                <a:lnTo>
                  <a:pt x="1158" y="1267"/>
                </a:lnTo>
                <a:lnTo>
                  <a:pt x="1150" y="1282"/>
                </a:lnTo>
                <a:lnTo>
                  <a:pt x="1142" y="1301"/>
                </a:lnTo>
                <a:lnTo>
                  <a:pt x="1138" y="1310"/>
                </a:lnTo>
                <a:lnTo>
                  <a:pt x="1134" y="1320"/>
                </a:lnTo>
                <a:lnTo>
                  <a:pt x="1131" y="1331"/>
                </a:lnTo>
                <a:lnTo>
                  <a:pt x="1127" y="1342"/>
                </a:lnTo>
                <a:close/>
                <a:moveTo>
                  <a:pt x="0" y="1372"/>
                </a:moveTo>
                <a:lnTo>
                  <a:pt x="6" y="1350"/>
                </a:lnTo>
                <a:lnTo>
                  <a:pt x="12" y="1331"/>
                </a:lnTo>
                <a:lnTo>
                  <a:pt x="18" y="1313"/>
                </a:lnTo>
                <a:lnTo>
                  <a:pt x="26" y="1296"/>
                </a:lnTo>
                <a:lnTo>
                  <a:pt x="40" y="1263"/>
                </a:lnTo>
                <a:lnTo>
                  <a:pt x="57" y="1223"/>
                </a:lnTo>
                <a:lnTo>
                  <a:pt x="95" y="1159"/>
                </a:lnTo>
                <a:lnTo>
                  <a:pt x="118" y="1124"/>
                </a:lnTo>
                <a:lnTo>
                  <a:pt x="143" y="1083"/>
                </a:lnTo>
                <a:lnTo>
                  <a:pt x="168" y="1049"/>
                </a:lnTo>
                <a:lnTo>
                  <a:pt x="180" y="1033"/>
                </a:lnTo>
                <a:lnTo>
                  <a:pt x="194" y="1017"/>
                </a:lnTo>
                <a:lnTo>
                  <a:pt x="207" y="1002"/>
                </a:lnTo>
                <a:lnTo>
                  <a:pt x="221" y="987"/>
                </a:lnTo>
                <a:lnTo>
                  <a:pt x="234" y="972"/>
                </a:lnTo>
                <a:lnTo>
                  <a:pt x="249" y="957"/>
                </a:lnTo>
                <a:lnTo>
                  <a:pt x="262" y="942"/>
                </a:lnTo>
                <a:lnTo>
                  <a:pt x="278" y="929"/>
                </a:lnTo>
                <a:lnTo>
                  <a:pt x="309" y="899"/>
                </a:lnTo>
                <a:lnTo>
                  <a:pt x="343" y="870"/>
                </a:lnTo>
                <a:lnTo>
                  <a:pt x="379" y="839"/>
                </a:lnTo>
                <a:lnTo>
                  <a:pt x="413" y="812"/>
                </a:lnTo>
                <a:lnTo>
                  <a:pt x="449" y="785"/>
                </a:lnTo>
                <a:lnTo>
                  <a:pt x="485" y="761"/>
                </a:lnTo>
                <a:lnTo>
                  <a:pt x="522" y="735"/>
                </a:lnTo>
                <a:lnTo>
                  <a:pt x="560" y="712"/>
                </a:lnTo>
                <a:lnTo>
                  <a:pt x="600" y="689"/>
                </a:lnTo>
                <a:lnTo>
                  <a:pt x="639" y="665"/>
                </a:lnTo>
                <a:lnTo>
                  <a:pt x="678" y="643"/>
                </a:lnTo>
                <a:lnTo>
                  <a:pt x="719" y="622"/>
                </a:lnTo>
                <a:lnTo>
                  <a:pt x="760" y="601"/>
                </a:lnTo>
                <a:lnTo>
                  <a:pt x="802" y="582"/>
                </a:lnTo>
                <a:lnTo>
                  <a:pt x="844" y="562"/>
                </a:lnTo>
                <a:lnTo>
                  <a:pt x="887" y="544"/>
                </a:lnTo>
                <a:lnTo>
                  <a:pt x="929" y="527"/>
                </a:lnTo>
                <a:lnTo>
                  <a:pt x="972" y="509"/>
                </a:lnTo>
                <a:lnTo>
                  <a:pt x="1017" y="494"/>
                </a:lnTo>
                <a:lnTo>
                  <a:pt x="1061" y="478"/>
                </a:lnTo>
                <a:lnTo>
                  <a:pt x="1104" y="463"/>
                </a:lnTo>
                <a:lnTo>
                  <a:pt x="1149" y="449"/>
                </a:lnTo>
                <a:lnTo>
                  <a:pt x="1193" y="436"/>
                </a:lnTo>
                <a:lnTo>
                  <a:pt x="1237" y="424"/>
                </a:lnTo>
                <a:lnTo>
                  <a:pt x="1281" y="411"/>
                </a:lnTo>
                <a:lnTo>
                  <a:pt x="1326" y="400"/>
                </a:lnTo>
                <a:lnTo>
                  <a:pt x="1371" y="389"/>
                </a:lnTo>
                <a:lnTo>
                  <a:pt x="1459" y="371"/>
                </a:lnTo>
                <a:lnTo>
                  <a:pt x="1505" y="362"/>
                </a:lnTo>
                <a:lnTo>
                  <a:pt x="1549" y="354"/>
                </a:lnTo>
                <a:lnTo>
                  <a:pt x="1593" y="346"/>
                </a:lnTo>
                <a:lnTo>
                  <a:pt x="1637" y="339"/>
                </a:lnTo>
                <a:lnTo>
                  <a:pt x="1681" y="333"/>
                </a:lnTo>
                <a:lnTo>
                  <a:pt x="1724" y="327"/>
                </a:lnTo>
                <a:lnTo>
                  <a:pt x="1768" y="322"/>
                </a:lnTo>
                <a:lnTo>
                  <a:pt x="1811" y="317"/>
                </a:lnTo>
                <a:lnTo>
                  <a:pt x="1854" y="313"/>
                </a:lnTo>
                <a:lnTo>
                  <a:pt x="1897" y="310"/>
                </a:lnTo>
                <a:lnTo>
                  <a:pt x="1940" y="306"/>
                </a:lnTo>
                <a:lnTo>
                  <a:pt x="1982" y="303"/>
                </a:lnTo>
                <a:lnTo>
                  <a:pt x="2065" y="300"/>
                </a:lnTo>
                <a:lnTo>
                  <a:pt x="2146" y="297"/>
                </a:lnTo>
                <a:lnTo>
                  <a:pt x="2226" y="297"/>
                </a:lnTo>
                <a:lnTo>
                  <a:pt x="2265" y="297"/>
                </a:lnTo>
                <a:lnTo>
                  <a:pt x="2304" y="299"/>
                </a:lnTo>
                <a:lnTo>
                  <a:pt x="2342" y="300"/>
                </a:lnTo>
                <a:lnTo>
                  <a:pt x="2379" y="302"/>
                </a:lnTo>
                <a:lnTo>
                  <a:pt x="2422" y="303"/>
                </a:lnTo>
                <a:lnTo>
                  <a:pt x="2458" y="306"/>
                </a:lnTo>
                <a:lnTo>
                  <a:pt x="2491" y="308"/>
                </a:lnTo>
                <a:lnTo>
                  <a:pt x="2526" y="312"/>
                </a:lnTo>
                <a:lnTo>
                  <a:pt x="2556" y="316"/>
                </a:lnTo>
                <a:lnTo>
                  <a:pt x="2591" y="319"/>
                </a:lnTo>
                <a:lnTo>
                  <a:pt x="2631" y="323"/>
                </a:lnTo>
                <a:lnTo>
                  <a:pt x="2666" y="328"/>
                </a:lnTo>
                <a:lnTo>
                  <a:pt x="2729" y="337"/>
                </a:lnTo>
                <a:lnTo>
                  <a:pt x="2795" y="348"/>
                </a:lnTo>
                <a:lnTo>
                  <a:pt x="2859" y="359"/>
                </a:lnTo>
                <a:lnTo>
                  <a:pt x="2920" y="371"/>
                </a:lnTo>
                <a:lnTo>
                  <a:pt x="2979" y="384"/>
                </a:lnTo>
                <a:lnTo>
                  <a:pt x="3035" y="398"/>
                </a:lnTo>
                <a:lnTo>
                  <a:pt x="3089" y="413"/>
                </a:lnTo>
                <a:lnTo>
                  <a:pt x="3141" y="427"/>
                </a:lnTo>
                <a:lnTo>
                  <a:pt x="3190" y="442"/>
                </a:lnTo>
                <a:lnTo>
                  <a:pt x="3238" y="458"/>
                </a:lnTo>
                <a:lnTo>
                  <a:pt x="3284" y="474"/>
                </a:lnTo>
                <a:lnTo>
                  <a:pt x="3330" y="491"/>
                </a:lnTo>
                <a:lnTo>
                  <a:pt x="3371" y="508"/>
                </a:lnTo>
                <a:lnTo>
                  <a:pt x="3412" y="525"/>
                </a:lnTo>
                <a:lnTo>
                  <a:pt x="3450" y="543"/>
                </a:lnTo>
                <a:lnTo>
                  <a:pt x="3487" y="560"/>
                </a:lnTo>
                <a:lnTo>
                  <a:pt x="3522" y="577"/>
                </a:lnTo>
                <a:lnTo>
                  <a:pt x="3555" y="595"/>
                </a:lnTo>
                <a:lnTo>
                  <a:pt x="3587" y="612"/>
                </a:lnTo>
                <a:lnTo>
                  <a:pt x="3618" y="631"/>
                </a:lnTo>
                <a:lnTo>
                  <a:pt x="3646" y="648"/>
                </a:lnTo>
                <a:lnTo>
                  <a:pt x="3674" y="665"/>
                </a:lnTo>
                <a:lnTo>
                  <a:pt x="3700" y="684"/>
                </a:lnTo>
                <a:lnTo>
                  <a:pt x="3725" y="701"/>
                </a:lnTo>
                <a:lnTo>
                  <a:pt x="3748" y="718"/>
                </a:lnTo>
                <a:lnTo>
                  <a:pt x="3769" y="735"/>
                </a:lnTo>
                <a:lnTo>
                  <a:pt x="3790" y="752"/>
                </a:lnTo>
                <a:lnTo>
                  <a:pt x="3809" y="768"/>
                </a:lnTo>
                <a:lnTo>
                  <a:pt x="3828" y="785"/>
                </a:lnTo>
                <a:lnTo>
                  <a:pt x="3845" y="800"/>
                </a:lnTo>
                <a:lnTo>
                  <a:pt x="3861" y="816"/>
                </a:lnTo>
                <a:lnTo>
                  <a:pt x="3876" y="831"/>
                </a:lnTo>
                <a:lnTo>
                  <a:pt x="3904" y="860"/>
                </a:lnTo>
                <a:lnTo>
                  <a:pt x="3928" y="888"/>
                </a:lnTo>
                <a:lnTo>
                  <a:pt x="3939" y="902"/>
                </a:lnTo>
                <a:lnTo>
                  <a:pt x="3950" y="915"/>
                </a:lnTo>
                <a:lnTo>
                  <a:pt x="3960" y="928"/>
                </a:lnTo>
                <a:lnTo>
                  <a:pt x="3969" y="940"/>
                </a:lnTo>
                <a:lnTo>
                  <a:pt x="3986" y="964"/>
                </a:lnTo>
                <a:lnTo>
                  <a:pt x="3999" y="987"/>
                </a:lnTo>
                <a:lnTo>
                  <a:pt x="4012" y="1009"/>
                </a:lnTo>
                <a:lnTo>
                  <a:pt x="4022" y="1028"/>
                </a:lnTo>
                <a:lnTo>
                  <a:pt x="4030" y="1047"/>
                </a:lnTo>
                <a:lnTo>
                  <a:pt x="4037" y="1064"/>
                </a:lnTo>
                <a:lnTo>
                  <a:pt x="4049" y="1093"/>
                </a:lnTo>
                <a:lnTo>
                  <a:pt x="4057" y="1118"/>
                </a:lnTo>
                <a:lnTo>
                  <a:pt x="4067" y="1139"/>
                </a:lnTo>
                <a:lnTo>
                  <a:pt x="4074" y="1155"/>
                </a:lnTo>
                <a:lnTo>
                  <a:pt x="4080" y="1164"/>
                </a:lnTo>
                <a:lnTo>
                  <a:pt x="4087" y="1172"/>
                </a:lnTo>
                <a:lnTo>
                  <a:pt x="4089" y="1173"/>
                </a:lnTo>
                <a:lnTo>
                  <a:pt x="4091" y="1174"/>
                </a:lnTo>
                <a:lnTo>
                  <a:pt x="4094" y="1174"/>
                </a:lnTo>
                <a:lnTo>
                  <a:pt x="4096" y="1173"/>
                </a:lnTo>
                <a:lnTo>
                  <a:pt x="4099" y="1172"/>
                </a:lnTo>
                <a:lnTo>
                  <a:pt x="4101" y="1171"/>
                </a:lnTo>
                <a:lnTo>
                  <a:pt x="4104" y="1168"/>
                </a:lnTo>
                <a:lnTo>
                  <a:pt x="4106" y="1166"/>
                </a:lnTo>
                <a:lnTo>
                  <a:pt x="4111" y="1157"/>
                </a:lnTo>
                <a:lnTo>
                  <a:pt x="4115" y="1146"/>
                </a:lnTo>
                <a:lnTo>
                  <a:pt x="4117" y="1134"/>
                </a:lnTo>
                <a:lnTo>
                  <a:pt x="4118" y="1126"/>
                </a:lnTo>
                <a:lnTo>
                  <a:pt x="4118" y="1119"/>
                </a:lnTo>
                <a:lnTo>
                  <a:pt x="4120" y="1104"/>
                </a:lnTo>
                <a:lnTo>
                  <a:pt x="4121" y="1087"/>
                </a:lnTo>
                <a:lnTo>
                  <a:pt x="4120" y="1070"/>
                </a:lnTo>
                <a:lnTo>
                  <a:pt x="4118" y="1050"/>
                </a:lnTo>
                <a:lnTo>
                  <a:pt x="4117" y="1032"/>
                </a:lnTo>
                <a:lnTo>
                  <a:pt x="4114" y="1012"/>
                </a:lnTo>
                <a:lnTo>
                  <a:pt x="4110" y="991"/>
                </a:lnTo>
                <a:lnTo>
                  <a:pt x="4106" y="972"/>
                </a:lnTo>
                <a:lnTo>
                  <a:pt x="4100" y="951"/>
                </a:lnTo>
                <a:lnTo>
                  <a:pt x="4095" y="931"/>
                </a:lnTo>
                <a:lnTo>
                  <a:pt x="4088" y="913"/>
                </a:lnTo>
                <a:lnTo>
                  <a:pt x="4080" y="893"/>
                </a:lnTo>
                <a:lnTo>
                  <a:pt x="4063" y="859"/>
                </a:lnTo>
                <a:lnTo>
                  <a:pt x="4049" y="830"/>
                </a:lnTo>
                <a:lnTo>
                  <a:pt x="4026" y="789"/>
                </a:lnTo>
                <a:lnTo>
                  <a:pt x="4020" y="777"/>
                </a:lnTo>
                <a:lnTo>
                  <a:pt x="4018" y="773"/>
                </a:lnTo>
                <a:lnTo>
                  <a:pt x="4018" y="771"/>
                </a:lnTo>
                <a:lnTo>
                  <a:pt x="4018" y="769"/>
                </a:lnTo>
                <a:lnTo>
                  <a:pt x="4020" y="771"/>
                </a:lnTo>
                <a:lnTo>
                  <a:pt x="4023" y="772"/>
                </a:lnTo>
                <a:lnTo>
                  <a:pt x="4026" y="776"/>
                </a:lnTo>
                <a:lnTo>
                  <a:pt x="4035" y="783"/>
                </a:lnTo>
                <a:lnTo>
                  <a:pt x="4045" y="792"/>
                </a:lnTo>
                <a:lnTo>
                  <a:pt x="4056" y="801"/>
                </a:lnTo>
                <a:lnTo>
                  <a:pt x="4067" y="814"/>
                </a:lnTo>
                <a:lnTo>
                  <a:pt x="4079" y="827"/>
                </a:lnTo>
                <a:lnTo>
                  <a:pt x="4085" y="834"/>
                </a:lnTo>
                <a:lnTo>
                  <a:pt x="4093" y="842"/>
                </a:lnTo>
                <a:lnTo>
                  <a:pt x="4105" y="858"/>
                </a:lnTo>
                <a:lnTo>
                  <a:pt x="4118" y="876"/>
                </a:lnTo>
                <a:lnTo>
                  <a:pt x="4132" y="896"/>
                </a:lnTo>
                <a:lnTo>
                  <a:pt x="4145" y="917"/>
                </a:lnTo>
                <a:lnTo>
                  <a:pt x="4158" y="939"/>
                </a:lnTo>
                <a:lnTo>
                  <a:pt x="4164" y="951"/>
                </a:lnTo>
                <a:lnTo>
                  <a:pt x="4170" y="963"/>
                </a:lnTo>
                <a:lnTo>
                  <a:pt x="4181" y="989"/>
                </a:lnTo>
                <a:lnTo>
                  <a:pt x="4192" y="1016"/>
                </a:lnTo>
                <a:lnTo>
                  <a:pt x="4202" y="1044"/>
                </a:lnTo>
                <a:lnTo>
                  <a:pt x="4212" y="1075"/>
                </a:lnTo>
                <a:lnTo>
                  <a:pt x="4218" y="1107"/>
                </a:lnTo>
                <a:lnTo>
                  <a:pt x="4220" y="1123"/>
                </a:lnTo>
                <a:lnTo>
                  <a:pt x="4221" y="1139"/>
                </a:lnTo>
                <a:lnTo>
                  <a:pt x="4223" y="1155"/>
                </a:lnTo>
                <a:lnTo>
                  <a:pt x="4224" y="1171"/>
                </a:lnTo>
                <a:lnTo>
                  <a:pt x="4224" y="1204"/>
                </a:lnTo>
                <a:lnTo>
                  <a:pt x="4224" y="1212"/>
                </a:lnTo>
                <a:lnTo>
                  <a:pt x="4223" y="1220"/>
                </a:lnTo>
                <a:lnTo>
                  <a:pt x="4221" y="1237"/>
                </a:lnTo>
                <a:lnTo>
                  <a:pt x="4220" y="1253"/>
                </a:lnTo>
                <a:lnTo>
                  <a:pt x="4218" y="1269"/>
                </a:lnTo>
                <a:lnTo>
                  <a:pt x="4215" y="1286"/>
                </a:lnTo>
                <a:lnTo>
                  <a:pt x="4212" y="1302"/>
                </a:lnTo>
                <a:lnTo>
                  <a:pt x="4208" y="1318"/>
                </a:lnTo>
                <a:lnTo>
                  <a:pt x="4204" y="1334"/>
                </a:lnTo>
                <a:lnTo>
                  <a:pt x="4199" y="1351"/>
                </a:lnTo>
                <a:lnTo>
                  <a:pt x="4194" y="1367"/>
                </a:lnTo>
                <a:lnTo>
                  <a:pt x="4188" y="1383"/>
                </a:lnTo>
                <a:lnTo>
                  <a:pt x="4183" y="1397"/>
                </a:lnTo>
                <a:lnTo>
                  <a:pt x="4170" y="1429"/>
                </a:lnTo>
                <a:lnTo>
                  <a:pt x="4155" y="1460"/>
                </a:lnTo>
                <a:lnTo>
                  <a:pt x="4139" y="1489"/>
                </a:lnTo>
                <a:lnTo>
                  <a:pt x="4131" y="1504"/>
                </a:lnTo>
                <a:lnTo>
                  <a:pt x="4122" y="1519"/>
                </a:lnTo>
                <a:lnTo>
                  <a:pt x="4112" y="1534"/>
                </a:lnTo>
                <a:lnTo>
                  <a:pt x="4104" y="1547"/>
                </a:lnTo>
                <a:lnTo>
                  <a:pt x="4093" y="1561"/>
                </a:lnTo>
                <a:lnTo>
                  <a:pt x="4083" y="1574"/>
                </a:lnTo>
                <a:lnTo>
                  <a:pt x="4045" y="1619"/>
                </a:lnTo>
                <a:lnTo>
                  <a:pt x="4010" y="1659"/>
                </a:lnTo>
                <a:lnTo>
                  <a:pt x="3997" y="1675"/>
                </a:lnTo>
                <a:lnTo>
                  <a:pt x="3985" y="1689"/>
                </a:lnTo>
                <a:lnTo>
                  <a:pt x="3976" y="1700"/>
                </a:lnTo>
                <a:lnTo>
                  <a:pt x="3974" y="1705"/>
                </a:lnTo>
                <a:lnTo>
                  <a:pt x="3972" y="1710"/>
                </a:lnTo>
                <a:lnTo>
                  <a:pt x="3972" y="1713"/>
                </a:lnTo>
                <a:lnTo>
                  <a:pt x="3972" y="1714"/>
                </a:lnTo>
                <a:lnTo>
                  <a:pt x="3972" y="1715"/>
                </a:lnTo>
                <a:lnTo>
                  <a:pt x="3975" y="1718"/>
                </a:lnTo>
                <a:lnTo>
                  <a:pt x="3979" y="1718"/>
                </a:lnTo>
                <a:lnTo>
                  <a:pt x="3984" y="1719"/>
                </a:lnTo>
                <a:lnTo>
                  <a:pt x="3988" y="1718"/>
                </a:lnTo>
                <a:lnTo>
                  <a:pt x="3996" y="1716"/>
                </a:lnTo>
                <a:lnTo>
                  <a:pt x="4004" y="1714"/>
                </a:lnTo>
                <a:lnTo>
                  <a:pt x="4026" y="1705"/>
                </a:lnTo>
                <a:lnTo>
                  <a:pt x="4053" y="1692"/>
                </a:lnTo>
                <a:lnTo>
                  <a:pt x="4069" y="1683"/>
                </a:lnTo>
                <a:lnTo>
                  <a:pt x="4087" y="1673"/>
                </a:lnTo>
                <a:lnTo>
                  <a:pt x="4106" y="1662"/>
                </a:lnTo>
                <a:lnTo>
                  <a:pt x="4126" y="1649"/>
                </a:lnTo>
                <a:lnTo>
                  <a:pt x="4148" y="1635"/>
                </a:lnTo>
                <a:lnTo>
                  <a:pt x="4171" y="1618"/>
                </a:lnTo>
                <a:lnTo>
                  <a:pt x="4196" y="1600"/>
                </a:lnTo>
                <a:lnTo>
                  <a:pt x="4208" y="1590"/>
                </a:lnTo>
                <a:lnTo>
                  <a:pt x="4220" y="1579"/>
                </a:lnTo>
                <a:lnTo>
                  <a:pt x="4234" y="1567"/>
                </a:lnTo>
                <a:lnTo>
                  <a:pt x="4246" y="1554"/>
                </a:lnTo>
                <a:lnTo>
                  <a:pt x="4259" y="1542"/>
                </a:lnTo>
                <a:lnTo>
                  <a:pt x="4272" y="1529"/>
                </a:lnTo>
                <a:lnTo>
                  <a:pt x="4285" y="1514"/>
                </a:lnTo>
                <a:lnTo>
                  <a:pt x="4298" y="1498"/>
                </a:lnTo>
                <a:lnTo>
                  <a:pt x="4311" y="1482"/>
                </a:lnTo>
                <a:lnTo>
                  <a:pt x="4323" y="1465"/>
                </a:lnTo>
                <a:lnTo>
                  <a:pt x="4336" y="1449"/>
                </a:lnTo>
                <a:lnTo>
                  <a:pt x="4348" y="1432"/>
                </a:lnTo>
                <a:lnTo>
                  <a:pt x="4360" y="1413"/>
                </a:lnTo>
                <a:lnTo>
                  <a:pt x="4372" y="1394"/>
                </a:lnTo>
                <a:lnTo>
                  <a:pt x="4383" y="1374"/>
                </a:lnTo>
                <a:lnTo>
                  <a:pt x="4393" y="1353"/>
                </a:lnTo>
                <a:lnTo>
                  <a:pt x="4404" y="1331"/>
                </a:lnTo>
                <a:lnTo>
                  <a:pt x="4413" y="1308"/>
                </a:lnTo>
                <a:lnTo>
                  <a:pt x="4421" y="1283"/>
                </a:lnTo>
                <a:lnTo>
                  <a:pt x="4428" y="1259"/>
                </a:lnTo>
                <a:lnTo>
                  <a:pt x="4434" y="1233"/>
                </a:lnTo>
                <a:lnTo>
                  <a:pt x="4439" y="1205"/>
                </a:lnTo>
                <a:lnTo>
                  <a:pt x="4442" y="1177"/>
                </a:lnTo>
                <a:lnTo>
                  <a:pt x="4443" y="1163"/>
                </a:lnTo>
                <a:lnTo>
                  <a:pt x="4445" y="1148"/>
                </a:lnTo>
                <a:lnTo>
                  <a:pt x="4445" y="1133"/>
                </a:lnTo>
                <a:lnTo>
                  <a:pt x="4445" y="1118"/>
                </a:lnTo>
                <a:lnTo>
                  <a:pt x="4443" y="1102"/>
                </a:lnTo>
                <a:lnTo>
                  <a:pt x="4443" y="1086"/>
                </a:lnTo>
                <a:lnTo>
                  <a:pt x="4440" y="1055"/>
                </a:lnTo>
                <a:lnTo>
                  <a:pt x="4436" y="1023"/>
                </a:lnTo>
                <a:lnTo>
                  <a:pt x="4434" y="1007"/>
                </a:lnTo>
                <a:lnTo>
                  <a:pt x="4430" y="990"/>
                </a:lnTo>
                <a:lnTo>
                  <a:pt x="4423" y="957"/>
                </a:lnTo>
                <a:lnTo>
                  <a:pt x="4416" y="941"/>
                </a:lnTo>
                <a:lnTo>
                  <a:pt x="4410" y="924"/>
                </a:lnTo>
                <a:lnTo>
                  <a:pt x="4404" y="906"/>
                </a:lnTo>
                <a:lnTo>
                  <a:pt x="4396" y="887"/>
                </a:lnTo>
                <a:lnTo>
                  <a:pt x="4387" y="869"/>
                </a:lnTo>
                <a:lnTo>
                  <a:pt x="4377" y="850"/>
                </a:lnTo>
                <a:lnTo>
                  <a:pt x="4366" y="831"/>
                </a:lnTo>
                <a:lnTo>
                  <a:pt x="4354" y="811"/>
                </a:lnTo>
                <a:lnTo>
                  <a:pt x="4343" y="793"/>
                </a:lnTo>
                <a:lnTo>
                  <a:pt x="4332" y="774"/>
                </a:lnTo>
                <a:lnTo>
                  <a:pt x="4306" y="736"/>
                </a:lnTo>
                <a:lnTo>
                  <a:pt x="4291" y="718"/>
                </a:lnTo>
                <a:lnTo>
                  <a:pt x="4277" y="698"/>
                </a:lnTo>
                <a:lnTo>
                  <a:pt x="4261" y="680"/>
                </a:lnTo>
                <a:lnTo>
                  <a:pt x="4244" y="660"/>
                </a:lnTo>
                <a:lnTo>
                  <a:pt x="4225" y="641"/>
                </a:lnTo>
                <a:lnTo>
                  <a:pt x="4206" y="620"/>
                </a:lnTo>
                <a:lnTo>
                  <a:pt x="4196" y="610"/>
                </a:lnTo>
                <a:lnTo>
                  <a:pt x="4185" y="600"/>
                </a:lnTo>
                <a:lnTo>
                  <a:pt x="4163" y="581"/>
                </a:lnTo>
                <a:lnTo>
                  <a:pt x="4139" y="560"/>
                </a:lnTo>
                <a:lnTo>
                  <a:pt x="4115" y="539"/>
                </a:lnTo>
                <a:lnTo>
                  <a:pt x="4089" y="518"/>
                </a:lnTo>
                <a:lnTo>
                  <a:pt x="4061" y="497"/>
                </a:lnTo>
                <a:lnTo>
                  <a:pt x="4033" y="478"/>
                </a:lnTo>
                <a:lnTo>
                  <a:pt x="4004" y="457"/>
                </a:lnTo>
                <a:lnTo>
                  <a:pt x="3974" y="437"/>
                </a:lnTo>
                <a:lnTo>
                  <a:pt x="3943" y="417"/>
                </a:lnTo>
                <a:lnTo>
                  <a:pt x="3910" y="397"/>
                </a:lnTo>
                <a:lnTo>
                  <a:pt x="3877" y="377"/>
                </a:lnTo>
                <a:lnTo>
                  <a:pt x="3842" y="357"/>
                </a:lnTo>
                <a:lnTo>
                  <a:pt x="3807" y="339"/>
                </a:lnTo>
                <a:lnTo>
                  <a:pt x="3769" y="319"/>
                </a:lnTo>
                <a:lnTo>
                  <a:pt x="3731" y="301"/>
                </a:lnTo>
                <a:lnTo>
                  <a:pt x="3692" y="281"/>
                </a:lnTo>
                <a:lnTo>
                  <a:pt x="3651" y="263"/>
                </a:lnTo>
                <a:lnTo>
                  <a:pt x="3609" y="246"/>
                </a:lnTo>
                <a:lnTo>
                  <a:pt x="3565" y="227"/>
                </a:lnTo>
                <a:lnTo>
                  <a:pt x="3521" y="210"/>
                </a:lnTo>
                <a:lnTo>
                  <a:pt x="3476" y="193"/>
                </a:lnTo>
                <a:lnTo>
                  <a:pt x="3428" y="177"/>
                </a:lnTo>
                <a:lnTo>
                  <a:pt x="3380" y="161"/>
                </a:lnTo>
                <a:lnTo>
                  <a:pt x="3330" y="145"/>
                </a:lnTo>
                <a:lnTo>
                  <a:pt x="3278" y="130"/>
                </a:lnTo>
                <a:lnTo>
                  <a:pt x="3226" y="116"/>
                </a:lnTo>
                <a:lnTo>
                  <a:pt x="3172" y="102"/>
                </a:lnTo>
                <a:lnTo>
                  <a:pt x="3116" y="89"/>
                </a:lnTo>
                <a:lnTo>
                  <a:pt x="3060" y="77"/>
                </a:lnTo>
                <a:lnTo>
                  <a:pt x="3001" y="64"/>
                </a:lnTo>
                <a:lnTo>
                  <a:pt x="2941" y="53"/>
                </a:lnTo>
                <a:lnTo>
                  <a:pt x="2880" y="42"/>
                </a:lnTo>
                <a:lnTo>
                  <a:pt x="2817" y="32"/>
                </a:lnTo>
                <a:lnTo>
                  <a:pt x="2753" y="24"/>
                </a:lnTo>
                <a:lnTo>
                  <a:pt x="2720" y="19"/>
                </a:lnTo>
                <a:lnTo>
                  <a:pt x="2687" y="15"/>
                </a:lnTo>
                <a:lnTo>
                  <a:pt x="2620" y="8"/>
                </a:lnTo>
                <a:lnTo>
                  <a:pt x="2551" y="0"/>
                </a:lnTo>
                <a:lnTo>
                  <a:pt x="2631" y="8"/>
                </a:lnTo>
                <a:lnTo>
                  <a:pt x="2708" y="15"/>
                </a:lnTo>
                <a:lnTo>
                  <a:pt x="2783" y="25"/>
                </a:lnTo>
                <a:lnTo>
                  <a:pt x="2820" y="30"/>
                </a:lnTo>
                <a:lnTo>
                  <a:pt x="2856" y="35"/>
                </a:lnTo>
                <a:lnTo>
                  <a:pt x="2929" y="46"/>
                </a:lnTo>
                <a:lnTo>
                  <a:pt x="2999" y="58"/>
                </a:lnTo>
                <a:lnTo>
                  <a:pt x="3067" y="72"/>
                </a:lnTo>
                <a:lnTo>
                  <a:pt x="3135" y="85"/>
                </a:lnTo>
                <a:lnTo>
                  <a:pt x="3200" y="100"/>
                </a:lnTo>
                <a:lnTo>
                  <a:pt x="3264" y="116"/>
                </a:lnTo>
                <a:lnTo>
                  <a:pt x="3326" y="133"/>
                </a:lnTo>
                <a:lnTo>
                  <a:pt x="3386" y="150"/>
                </a:lnTo>
                <a:lnTo>
                  <a:pt x="3416" y="159"/>
                </a:lnTo>
                <a:lnTo>
                  <a:pt x="3445" y="169"/>
                </a:lnTo>
                <a:lnTo>
                  <a:pt x="3503" y="187"/>
                </a:lnTo>
                <a:lnTo>
                  <a:pt x="3558" y="208"/>
                </a:lnTo>
                <a:lnTo>
                  <a:pt x="3612" y="227"/>
                </a:lnTo>
                <a:lnTo>
                  <a:pt x="3665" y="248"/>
                </a:lnTo>
                <a:lnTo>
                  <a:pt x="3715" y="270"/>
                </a:lnTo>
                <a:lnTo>
                  <a:pt x="3764" y="292"/>
                </a:lnTo>
                <a:lnTo>
                  <a:pt x="3788" y="303"/>
                </a:lnTo>
                <a:lnTo>
                  <a:pt x="3812" y="314"/>
                </a:lnTo>
                <a:lnTo>
                  <a:pt x="3858" y="338"/>
                </a:lnTo>
                <a:lnTo>
                  <a:pt x="3903" y="361"/>
                </a:lnTo>
                <a:lnTo>
                  <a:pt x="3945" y="386"/>
                </a:lnTo>
                <a:lnTo>
                  <a:pt x="3987" y="410"/>
                </a:lnTo>
                <a:lnTo>
                  <a:pt x="4028" y="435"/>
                </a:lnTo>
                <a:lnTo>
                  <a:pt x="4066" y="459"/>
                </a:lnTo>
                <a:lnTo>
                  <a:pt x="4102" y="485"/>
                </a:lnTo>
                <a:lnTo>
                  <a:pt x="4138" y="509"/>
                </a:lnTo>
                <a:lnTo>
                  <a:pt x="4171" y="535"/>
                </a:lnTo>
                <a:lnTo>
                  <a:pt x="4204" y="561"/>
                </a:lnTo>
                <a:lnTo>
                  <a:pt x="4235" y="587"/>
                </a:lnTo>
                <a:lnTo>
                  <a:pt x="4264" y="614"/>
                </a:lnTo>
                <a:lnTo>
                  <a:pt x="4291" y="639"/>
                </a:lnTo>
                <a:lnTo>
                  <a:pt x="4316" y="665"/>
                </a:lnTo>
                <a:lnTo>
                  <a:pt x="4340" y="691"/>
                </a:lnTo>
                <a:lnTo>
                  <a:pt x="4363" y="718"/>
                </a:lnTo>
                <a:lnTo>
                  <a:pt x="4374" y="730"/>
                </a:lnTo>
                <a:lnTo>
                  <a:pt x="4383" y="744"/>
                </a:lnTo>
                <a:lnTo>
                  <a:pt x="4404" y="769"/>
                </a:lnTo>
                <a:lnTo>
                  <a:pt x="4421" y="795"/>
                </a:lnTo>
                <a:lnTo>
                  <a:pt x="4439" y="821"/>
                </a:lnTo>
                <a:lnTo>
                  <a:pt x="4454" y="847"/>
                </a:lnTo>
                <a:lnTo>
                  <a:pt x="4469" y="872"/>
                </a:lnTo>
                <a:lnTo>
                  <a:pt x="4483" y="897"/>
                </a:lnTo>
                <a:lnTo>
                  <a:pt x="4494" y="923"/>
                </a:lnTo>
                <a:lnTo>
                  <a:pt x="4505" y="949"/>
                </a:lnTo>
                <a:lnTo>
                  <a:pt x="4515" y="973"/>
                </a:lnTo>
                <a:lnTo>
                  <a:pt x="4523" y="998"/>
                </a:lnTo>
                <a:lnTo>
                  <a:pt x="4531" y="1022"/>
                </a:lnTo>
                <a:lnTo>
                  <a:pt x="4537" y="1047"/>
                </a:lnTo>
                <a:lnTo>
                  <a:pt x="4542" y="1071"/>
                </a:lnTo>
                <a:lnTo>
                  <a:pt x="4545" y="1096"/>
                </a:lnTo>
                <a:lnTo>
                  <a:pt x="4549" y="1119"/>
                </a:lnTo>
                <a:lnTo>
                  <a:pt x="4551" y="1144"/>
                </a:lnTo>
                <a:lnTo>
                  <a:pt x="4553" y="1167"/>
                </a:lnTo>
                <a:lnTo>
                  <a:pt x="4553" y="1190"/>
                </a:lnTo>
                <a:lnTo>
                  <a:pt x="4551" y="1212"/>
                </a:lnTo>
                <a:lnTo>
                  <a:pt x="4550" y="1236"/>
                </a:lnTo>
                <a:lnTo>
                  <a:pt x="4548" y="1258"/>
                </a:lnTo>
                <a:lnTo>
                  <a:pt x="4544" y="1280"/>
                </a:lnTo>
                <a:lnTo>
                  <a:pt x="4540" y="1302"/>
                </a:lnTo>
                <a:lnTo>
                  <a:pt x="4535" y="1324"/>
                </a:lnTo>
                <a:lnTo>
                  <a:pt x="4529" y="1345"/>
                </a:lnTo>
                <a:lnTo>
                  <a:pt x="4527" y="1354"/>
                </a:lnTo>
                <a:lnTo>
                  <a:pt x="4523" y="1366"/>
                </a:lnTo>
                <a:lnTo>
                  <a:pt x="4516" y="1386"/>
                </a:lnTo>
                <a:lnTo>
                  <a:pt x="4508" y="1407"/>
                </a:lnTo>
                <a:lnTo>
                  <a:pt x="4500" y="1427"/>
                </a:lnTo>
                <a:lnTo>
                  <a:pt x="4491" y="1446"/>
                </a:lnTo>
                <a:lnTo>
                  <a:pt x="4481" y="1466"/>
                </a:lnTo>
                <a:lnTo>
                  <a:pt x="4472" y="1486"/>
                </a:lnTo>
                <a:lnTo>
                  <a:pt x="4461" y="1504"/>
                </a:lnTo>
                <a:lnTo>
                  <a:pt x="4451" y="1523"/>
                </a:lnTo>
                <a:lnTo>
                  <a:pt x="4439" y="1541"/>
                </a:lnTo>
                <a:lnTo>
                  <a:pt x="4428" y="1558"/>
                </a:lnTo>
                <a:lnTo>
                  <a:pt x="4415" y="1576"/>
                </a:lnTo>
                <a:lnTo>
                  <a:pt x="4402" y="1592"/>
                </a:lnTo>
                <a:lnTo>
                  <a:pt x="4389" y="1610"/>
                </a:lnTo>
                <a:lnTo>
                  <a:pt x="4376" y="1626"/>
                </a:lnTo>
                <a:lnTo>
                  <a:pt x="4363" y="1641"/>
                </a:lnTo>
                <a:lnTo>
                  <a:pt x="4348" y="1657"/>
                </a:lnTo>
                <a:lnTo>
                  <a:pt x="4333" y="1672"/>
                </a:lnTo>
                <a:lnTo>
                  <a:pt x="4318" y="1687"/>
                </a:lnTo>
                <a:lnTo>
                  <a:pt x="4304" y="1702"/>
                </a:lnTo>
                <a:lnTo>
                  <a:pt x="4273" y="1730"/>
                </a:lnTo>
                <a:lnTo>
                  <a:pt x="4257" y="1743"/>
                </a:lnTo>
                <a:lnTo>
                  <a:pt x="4240" y="1757"/>
                </a:lnTo>
                <a:lnTo>
                  <a:pt x="4224" y="1770"/>
                </a:lnTo>
                <a:lnTo>
                  <a:pt x="4207" y="1783"/>
                </a:lnTo>
                <a:lnTo>
                  <a:pt x="4174" y="1807"/>
                </a:lnTo>
                <a:lnTo>
                  <a:pt x="4139" y="1830"/>
                </a:lnTo>
                <a:lnTo>
                  <a:pt x="4121" y="1841"/>
                </a:lnTo>
                <a:lnTo>
                  <a:pt x="4104" y="1852"/>
                </a:lnTo>
                <a:lnTo>
                  <a:pt x="4087" y="1863"/>
                </a:lnTo>
                <a:lnTo>
                  <a:pt x="4068" y="1873"/>
                </a:lnTo>
                <a:lnTo>
                  <a:pt x="4033" y="1894"/>
                </a:lnTo>
                <a:lnTo>
                  <a:pt x="3997" y="1914"/>
                </a:lnTo>
                <a:lnTo>
                  <a:pt x="3961" y="1932"/>
                </a:lnTo>
                <a:lnTo>
                  <a:pt x="3926" y="1951"/>
                </a:lnTo>
                <a:lnTo>
                  <a:pt x="3892" y="1966"/>
                </a:lnTo>
                <a:lnTo>
                  <a:pt x="3857" y="1981"/>
                </a:lnTo>
                <a:lnTo>
                  <a:pt x="3823" y="1996"/>
                </a:lnTo>
                <a:lnTo>
                  <a:pt x="3788" y="2009"/>
                </a:lnTo>
                <a:lnTo>
                  <a:pt x="3755" y="2022"/>
                </a:lnTo>
                <a:lnTo>
                  <a:pt x="3722" y="2034"/>
                </a:lnTo>
                <a:lnTo>
                  <a:pt x="3689" y="2045"/>
                </a:lnTo>
                <a:lnTo>
                  <a:pt x="3656" y="2055"/>
                </a:lnTo>
                <a:lnTo>
                  <a:pt x="3591" y="2074"/>
                </a:lnTo>
                <a:lnTo>
                  <a:pt x="3526" y="2093"/>
                </a:lnTo>
                <a:lnTo>
                  <a:pt x="3467" y="2108"/>
                </a:lnTo>
                <a:lnTo>
                  <a:pt x="3410" y="2120"/>
                </a:lnTo>
                <a:lnTo>
                  <a:pt x="3356" y="2132"/>
                </a:lnTo>
                <a:lnTo>
                  <a:pt x="3304" y="2142"/>
                </a:lnTo>
                <a:lnTo>
                  <a:pt x="3255" y="2150"/>
                </a:lnTo>
                <a:lnTo>
                  <a:pt x="3208" y="2158"/>
                </a:lnTo>
                <a:lnTo>
                  <a:pt x="3164" y="2164"/>
                </a:lnTo>
                <a:lnTo>
                  <a:pt x="3122" y="2169"/>
                </a:lnTo>
                <a:lnTo>
                  <a:pt x="3049" y="2177"/>
                </a:lnTo>
                <a:lnTo>
                  <a:pt x="2984" y="2182"/>
                </a:lnTo>
                <a:lnTo>
                  <a:pt x="2930" y="2186"/>
                </a:lnTo>
                <a:lnTo>
                  <a:pt x="2887" y="2187"/>
                </a:lnTo>
                <a:lnTo>
                  <a:pt x="2849" y="2191"/>
                </a:lnTo>
                <a:lnTo>
                  <a:pt x="2821" y="2193"/>
                </a:lnTo>
                <a:lnTo>
                  <a:pt x="2801" y="2196"/>
                </a:lnTo>
                <a:lnTo>
                  <a:pt x="2795" y="2197"/>
                </a:lnTo>
                <a:lnTo>
                  <a:pt x="2790" y="2198"/>
                </a:lnTo>
                <a:lnTo>
                  <a:pt x="2786" y="2200"/>
                </a:lnTo>
                <a:lnTo>
                  <a:pt x="2785" y="2201"/>
                </a:lnTo>
                <a:lnTo>
                  <a:pt x="2785" y="2202"/>
                </a:lnTo>
                <a:lnTo>
                  <a:pt x="2786" y="2203"/>
                </a:lnTo>
                <a:lnTo>
                  <a:pt x="2791" y="2207"/>
                </a:lnTo>
                <a:lnTo>
                  <a:pt x="2801" y="2209"/>
                </a:lnTo>
                <a:lnTo>
                  <a:pt x="2817" y="2213"/>
                </a:lnTo>
                <a:lnTo>
                  <a:pt x="2838" y="2215"/>
                </a:lnTo>
                <a:lnTo>
                  <a:pt x="2861" y="2218"/>
                </a:lnTo>
                <a:lnTo>
                  <a:pt x="2887" y="2220"/>
                </a:lnTo>
                <a:lnTo>
                  <a:pt x="2945" y="2225"/>
                </a:lnTo>
                <a:lnTo>
                  <a:pt x="2977" y="2226"/>
                </a:lnTo>
                <a:lnTo>
                  <a:pt x="3011" y="2228"/>
                </a:lnTo>
                <a:lnTo>
                  <a:pt x="3082" y="2229"/>
                </a:lnTo>
                <a:lnTo>
                  <a:pt x="3119" y="2229"/>
                </a:lnTo>
                <a:lnTo>
                  <a:pt x="3157" y="2228"/>
                </a:lnTo>
                <a:lnTo>
                  <a:pt x="3194" y="2226"/>
                </a:lnTo>
                <a:lnTo>
                  <a:pt x="3232" y="2225"/>
                </a:lnTo>
                <a:lnTo>
                  <a:pt x="3270" y="2223"/>
                </a:lnTo>
                <a:lnTo>
                  <a:pt x="3306" y="2220"/>
                </a:lnTo>
                <a:lnTo>
                  <a:pt x="3375" y="2214"/>
                </a:lnTo>
                <a:lnTo>
                  <a:pt x="3436" y="2208"/>
                </a:lnTo>
                <a:lnTo>
                  <a:pt x="3488" y="2202"/>
                </a:lnTo>
                <a:lnTo>
                  <a:pt x="3532" y="2196"/>
                </a:lnTo>
                <a:lnTo>
                  <a:pt x="3587" y="2188"/>
                </a:lnTo>
                <a:lnTo>
                  <a:pt x="3593" y="2188"/>
                </a:lnTo>
                <a:lnTo>
                  <a:pt x="3597" y="2188"/>
                </a:lnTo>
                <a:lnTo>
                  <a:pt x="3598" y="2188"/>
                </a:lnTo>
                <a:lnTo>
                  <a:pt x="3598" y="2190"/>
                </a:lnTo>
                <a:lnTo>
                  <a:pt x="3596" y="2191"/>
                </a:lnTo>
                <a:lnTo>
                  <a:pt x="3580" y="2197"/>
                </a:lnTo>
                <a:lnTo>
                  <a:pt x="3553" y="2204"/>
                </a:lnTo>
                <a:lnTo>
                  <a:pt x="3514" y="2215"/>
                </a:lnTo>
                <a:lnTo>
                  <a:pt x="3463" y="2226"/>
                </a:lnTo>
                <a:lnTo>
                  <a:pt x="3433" y="2233"/>
                </a:lnTo>
                <a:lnTo>
                  <a:pt x="3400" y="2239"/>
                </a:lnTo>
                <a:lnTo>
                  <a:pt x="3364" y="2244"/>
                </a:lnTo>
                <a:lnTo>
                  <a:pt x="3325" y="2250"/>
                </a:lnTo>
                <a:lnTo>
                  <a:pt x="3282" y="2256"/>
                </a:lnTo>
                <a:lnTo>
                  <a:pt x="3235" y="2261"/>
                </a:lnTo>
                <a:lnTo>
                  <a:pt x="3186" y="2266"/>
                </a:lnTo>
                <a:lnTo>
                  <a:pt x="3134" y="2271"/>
                </a:lnTo>
                <a:lnTo>
                  <a:pt x="3081" y="2274"/>
                </a:lnTo>
                <a:lnTo>
                  <a:pt x="3026" y="2277"/>
                </a:lnTo>
                <a:lnTo>
                  <a:pt x="2969" y="2278"/>
                </a:lnTo>
                <a:lnTo>
                  <a:pt x="2912" y="2278"/>
                </a:lnTo>
                <a:lnTo>
                  <a:pt x="2854" y="2278"/>
                </a:lnTo>
                <a:lnTo>
                  <a:pt x="2795" y="2277"/>
                </a:lnTo>
                <a:lnTo>
                  <a:pt x="2736" y="2274"/>
                </a:lnTo>
                <a:lnTo>
                  <a:pt x="2677" y="2271"/>
                </a:lnTo>
                <a:lnTo>
                  <a:pt x="2618" y="2267"/>
                </a:lnTo>
                <a:lnTo>
                  <a:pt x="2560" y="2262"/>
                </a:lnTo>
                <a:lnTo>
                  <a:pt x="2502" y="2257"/>
                </a:lnTo>
                <a:lnTo>
                  <a:pt x="2445" y="2250"/>
                </a:lnTo>
                <a:lnTo>
                  <a:pt x="2417" y="2246"/>
                </a:lnTo>
                <a:lnTo>
                  <a:pt x="2389" y="2242"/>
                </a:lnTo>
                <a:lnTo>
                  <a:pt x="2335" y="2235"/>
                </a:lnTo>
                <a:lnTo>
                  <a:pt x="2284" y="2226"/>
                </a:lnTo>
                <a:lnTo>
                  <a:pt x="2232" y="2217"/>
                </a:lnTo>
                <a:lnTo>
                  <a:pt x="2187" y="2207"/>
                </a:lnTo>
                <a:lnTo>
                  <a:pt x="2144" y="2198"/>
                </a:lnTo>
                <a:lnTo>
                  <a:pt x="2066" y="2180"/>
                </a:lnTo>
                <a:lnTo>
                  <a:pt x="2006" y="2168"/>
                </a:lnTo>
                <a:lnTo>
                  <a:pt x="1986" y="2163"/>
                </a:lnTo>
                <a:lnTo>
                  <a:pt x="1977" y="2163"/>
                </a:lnTo>
                <a:lnTo>
                  <a:pt x="1970" y="2161"/>
                </a:lnTo>
                <a:lnTo>
                  <a:pt x="1956" y="2161"/>
                </a:lnTo>
                <a:lnTo>
                  <a:pt x="1951" y="2163"/>
                </a:lnTo>
                <a:lnTo>
                  <a:pt x="1949" y="2165"/>
                </a:lnTo>
                <a:lnTo>
                  <a:pt x="1949" y="2166"/>
                </a:lnTo>
                <a:lnTo>
                  <a:pt x="1949" y="2168"/>
                </a:lnTo>
                <a:lnTo>
                  <a:pt x="1950" y="2170"/>
                </a:lnTo>
                <a:lnTo>
                  <a:pt x="1954" y="2175"/>
                </a:lnTo>
                <a:lnTo>
                  <a:pt x="1960" y="2179"/>
                </a:lnTo>
                <a:lnTo>
                  <a:pt x="1967" y="2185"/>
                </a:lnTo>
                <a:lnTo>
                  <a:pt x="1978" y="2191"/>
                </a:lnTo>
                <a:lnTo>
                  <a:pt x="1990" y="2198"/>
                </a:lnTo>
                <a:lnTo>
                  <a:pt x="2006" y="2206"/>
                </a:lnTo>
                <a:lnTo>
                  <a:pt x="2025" y="2214"/>
                </a:lnTo>
                <a:lnTo>
                  <a:pt x="2046" y="2224"/>
                </a:lnTo>
                <a:lnTo>
                  <a:pt x="2096" y="2245"/>
                </a:lnTo>
                <a:lnTo>
                  <a:pt x="2128" y="2257"/>
                </a:lnTo>
                <a:lnTo>
                  <a:pt x="2165" y="2269"/>
                </a:lnTo>
                <a:lnTo>
                  <a:pt x="2205" y="2282"/>
                </a:lnTo>
                <a:lnTo>
                  <a:pt x="2249" y="2295"/>
                </a:lnTo>
                <a:lnTo>
                  <a:pt x="2298" y="2309"/>
                </a:lnTo>
                <a:lnTo>
                  <a:pt x="2352" y="2321"/>
                </a:lnTo>
                <a:lnTo>
                  <a:pt x="2410" y="2334"/>
                </a:lnTo>
                <a:lnTo>
                  <a:pt x="2442" y="2341"/>
                </a:lnTo>
                <a:lnTo>
                  <a:pt x="2474" y="2347"/>
                </a:lnTo>
                <a:lnTo>
                  <a:pt x="2509" y="2353"/>
                </a:lnTo>
                <a:lnTo>
                  <a:pt x="2545" y="2358"/>
                </a:lnTo>
                <a:lnTo>
                  <a:pt x="2583" y="2363"/>
                </a:lnTo>
                <a:lnTo>
                  <a:pt x="2622" y="2368"/>
                </a:lnTo>
                <a:lnTo>
                  <a:pt x="2663" y="2372"/>
                </a:lnTo>
                <a:lnTo>
                  <a:pt x="2704" y="2376"/>
                </a:lnTo>
                <a:lnTo>
                  <a:pt x="2747" y="2380"/>
                </a:lnTo>
                <a:lnTo>
                  <a:pt x="2793" y="2383"/>
                </a:lnTo>
                <a:lnTo>
                  <a:pt x="2838" y="2386"/>
                </a:lnTo>
                <a:lnTo>
                  <a:pt x="2886" y="2388"/>
                </a:lnTo>
                <a:lnTo>
                  <a:pt x="2935" y="2390"/>
                </a:lnTo>
                <a:lnTo>
                  <a:pt x="2985" y="2391"/>
                </a:lnTo>
                <a:lnTo>
                  <a:pt x="3089" y="2391"/>
                </a:lnTo>
                <a:lnTo>
                  <a:pt x="3200" y="2388"/>
                </a:lnTo>
                <a:lnTo>
                  <a:pt x="3257" y="2385"/>
                </a:lnTo>
                <a:lnTo>
                  <a:pt x="3286" y="2382"/>
                </a:lnTo>
                <a:lnTo>
                  <a:pt x="3319" y="2380"/>
                </a:lnTo>
                <a:lnTo>
                  <a:pt x="3329" y="2380"/>
                </a:lnTo>
                <a:lnTo>
                  <a:pt x="3340" y="2379"/>
                </a:lnTo>
                <a:lnTo>
                  <a:pt x="3369" y="2376"/>
                </a:lnTo>
                <a:lnTo>
                  <a:pt x="3403" y="2371"/>
                </a:lnTo>
                <a:lnTo>
                  <a:pt x="3443" y="2366"/>
                </a:lnTo>
                <a:lnTo>
                  <a:pt x="3571" y="2348"/>
                </a:lnTo>
                <a:lnTo>
                  <a:pt x="3601" y="2344"/>
                </a:lnTo>
                <a:lnTo>
                  <a:pt x="3633" y="2338"/>
                </a:lnTo>
                <a:lnTo>
                  <a:pt x="3666" y="2332"/>
                </a:lnTo>
                <a:lnTo>
                  <a:pt x="3703" y="2323"/>
                </a:lnTo>
                <a:lnTo>
                  <a:pt x="3774" y="2307"/>
                </a:lnTo>
                <a:lnTo>
                  <a:pt x="3840" y="2293"/>
                </a:lnTo>
                <a:lnTo>
                  <a:pt x="3872" y="2284"/>
                </a:lnTo>
                <a:lnTo>
                  <a:pt x="3906" y="2276"/>
                </a:lnTo>
                <a:lnTo>
                  <a:pt x="3941" y="2266"/>
                </a:lnTo>
                <a:lnTo>
                  <a:pt x="3977" y="2255"/>
                </a:lnTo>
                <a:lnTo>
                  <a:pt x="4050" y="2231"/>
                </a:lnTo>
                <a:lnTo>
                  <a:pt x="4085" y="2220"/>
                </a:lnTo>
                <a:lnTo>
                  <a:pt x="4120" y="2208"/>
                </a:lnTo>
                <a:lnTo>
                  <a:pt x="4154" y="2195"/>
                </a:lnTo>
                <a:lnTo>
                  <a:pt x="4188" y="2181"/>
                </a:lnTo>
                <a:lnTo>
                  <a:pt x="4223" y="2168"/>
                </a:lnTo>
                <a:lnTo>
                  <a:pt x="4257" y="2154"/>
                </a:lnTo>
                <a:lnTo>
                  <a:pt x="4293" y="2138"/>
                </a:lnTo>
                <a:lnTo>
                  <a:pt x="4327" y="2122"/>
                </a:lnTo>
                <a:lnTo>
                  <a:pt x="4363" y="2105"/>
                </a:lnTo>
                <a:lnTo>
                  <a:pt x="4397" y="2088"/>
                </a:lnTo>
                <a:lnTo>
                  <a:pt x="4431" y="2071"/>
                </a:lnTo>
                <a:lnTo>
                  <a:pt x="4464" y="2054"/>
                </a:lnTo>
                <a:lnTo>
                  <a:pt x="4496" y="2035"/>
                </a:lnTo>
                <a:lnTo>
                  <a:pt x="4527" y="2018"/>
                </a:lnTo>
                <a:lnTo>
                  <a:pt x="4560" y="1998"/>
                </a:lnTo>
                <a:lnTo>
                  <a:pt x="4592" y="1978"/>
                </a:lnTo>
                <a:lnTo>
                  <a:pt x="4624" y="1955"/>
                </a:lnTo>
                <a:lnTo>
                  <a:pt x="4656" y="1932"/>
                </a:lnTo>
                <a:lnTo>
                  <a:pt x="4686" y="1909"/>
                </a:lnTo>
                <a:lnTo>
                  <a:pt x="4717" y="1887"/>
                </a:lnTo>
                <a:lnTo>
                  <a:pt x="4772" y="1843"/>
                </a:lnTo>
                <a:lnTo>
                  <a:pt x="4830" y="1790"/>
                </a:lnTo>
                <a:lnTo>
                  <a:pt x="4856" y="1764"/>
                </a:lnTo>
                <a:lnTo>
                  <a:pt x="4881" y="1738"/>
                </a:lnTo>
                <a:lnTo>
                  <a:pt x="4905" y="1713"/>
                </a:lnTo>
                <a:lnTo>
                  <a:pt x="4928" y="1686"/>
                </a:lnTo>
                <a:lnTo>
                  <a:pt x="4950" y="1657"/>
                </a:lnTo>
                <a:lnTo>
                  <a:pt x="4971" y="1627"/>
                </a:lnTo>
                <a:lnTo>
                  <a:pt x="5013" y="1559"/>
                </a:lnTo>
                <a:lnTo>
                  <a:pt x="5030" y="1531"/>
                </a:lnTo>
                <a:lnTo>
                  <a:pt x="5047" y="1504"/>
                </a:lnTo>
                <a:lnTo>
                  <a:pt x="5053" y="1492"/>
                </a:lnTo>
                <a:lnTo>
                  <a:pt x="5060" y="1478"/>
                </a:lnTo>
                <a:lnTo>
                  <a:pt x="5068" y="1464"/>
                </a:lnTo>
                <a:lnTo>
                  <a:pt x="5075" y="1448"/>
                </a:lnTo>
                <a:lnTo>
                  <a:pt x="5089" y="1412"/>
                </a:lnTo>
                <a:lnTo>
                  <a:pt x="5095" y="1393"/>
                </a:lnTo>
                <a:lnTo>
                  <a:pt x="5101" y="1373"/>
                </a:lnTo>
                <a:lnTo>
                  <a:pt x="5095" y="1394"/>
                </a:lnTo>
                <a:lnTo>
                  <a:pt x="5089" y="1413"/>
                </a:lnTo>
                <a:lnTo>
                  <a:pt x="5082" y="1431"/>
                </a:lnTo>
                <a:lnTo>
                  <a:pt x="5076" y="1448"/>
                </a:lnTo>
                <a:lnTo>
                  <a:pt x="5060" y="1482"/>
                </a:lnTo>
                <a:lnTo>
                  <a:pt x="5043" y="1521"/>
                </a:lnTo>
                <a:lnTo>
                  <a:pt x="5006" y="1585"/>
                </a:lnTo>
                <a:lnTo>
                  <a:pt x="4984" y="1621"/>
                </a:lnTo>
                <a:lnTo>
                  <a:pt x="4959" y="1660"/>
                </a:lnTo>
                <a:lnTo>
                  <a:pt x="4934" y="1694"/>
                </a:lnTo>
                <a:lnTo>
                  <a:pt x="4921" y="1711"/>
                </a:lnTo>
                <a:lnTo>
                  <a:pt x="4908" y="1726"/>
                </a:lnTo>
                <a:lnTo>
                  <a:pt x="4895" y="1742"/>
                </a:lnTo>
                <a:lnTo>
                  <a:pt x="4881" y="1757"/>
                </a:lnTo>
                <a:lnTo>
                  <a:pt x="4868" y="1773"/>
                </a:lnTo>
                <a:lnTo>
                  <a:pt x="4853" y="1786"/>
                </a:lnTo>
                <a:lnTo>
                  <a:pt x="4838" y="1801"/>
                </a:lnTo>
                <a:lnTo>
                  <a:pt x="4824" y="1816"/>
                </a:lnTo>
                <a:lnTo>
                  <a:pt x="4792" y="1845"/>
                </a:lnTo>
                <a:lnTo>
                  <a:pt x="4759" y="1875"/>
                </a:lnTo>
                <a:lnTo>
                  <a:pt x="4723" y="1905"/>
                </a:lnTo>
                <a:lnTo>
                  <a:pt x="4688" y="1932"/>
                </a:lnTo>
                <a:lnTo>
                  <a:pt x="4652" y="1958"/>
                </a:lnTo>
                <a:lnTo>
                  <a:pt x="4615" y="1984"/>
                </a:lnTo>
                <a:lnTo>
                  <a:pt x="4578" y="2008"/>
                </a:lnTo>
                <a:lnTo>
                  <a:pt x="4540" y="2033"/>
                </a:lnTo>
                <a:lnTo>
                  <a:pt x="4502" y="2056"/>
                </a:lnTo>
                <a:lnTo>
                  <a:pt x="4463" y="2079"/>
                </a:lnTo>
                <a:lnTo>
                  <a:pt x="4423" y="2101"/>
                </a:lnTo>
                <a:lnTo>
                  <a:pt x="4382" y="2122"/>
                </a:lnTo>
                <a:lnTo>
                  <a:pt x="4342" y="2143"/>
                </a:lnTo>
                <a:lnTo>
                  <a:pt x="4300" y="2163"/>
                </a:lnTo>
                <a:lnTo>
                  <a:pt x="4258" y="2181"/>
                </a:lnTo>
                <a:lnTo>
                  <a:pt x="4215" y="2200"/>
                </a:lnTo>
                <a:lnTo>
                  <a:pt x="4172" y="2218"/>
                </a:lnTo>
                <a:lnTo>
                  <a:pt x="4129" y="2235"/>
                </a:lnTo>
                <a:lnTo>
                  <a:pt x="4085" y="2251"/>
                </a:lnTo>
                <a:lnTo>
                  <a:pt x="4041" y="2266"/>
                </a:lnTo>
                <a:lnTo>
                  <a:pt x="3997" y="2280"/>
                </a:lnTo>
                <a:lnTo>
                  <a:pt x="3953" y="2295"/>
                </a:lnTo>
                <a:lnTo>
                  <a:pt x="3909" y="2307"/>
                </a:lnTo>
                <a:lnTo>
                  <a:pt x="3865" y="2321"/>
                </a:lnTo>
                <a:lnTo>
                  <a:pt x="3819" y="2332"/>
                </a:lnTo>
                <a:lnTo>
                  <a:pt x="3775" y="2344"/>
                </a:lnTo>
                <a:lnTo>
                  <a:pt x="3731" y="2354"/>
                </a:lnTo>
                <a:lnTo>
                  <a:pt x="3641" y="2374"/>
                </a:lnTo>
                <a:lnTo>
                  <a:pt x="3597" y="2382"/>
                </a:lnTo>
                <a:lnTo>
                  <a:pt x="3553" y="2391"/>
                </a:lnTo>
                <a:lnTo>
                  <a:pt x="3509" y="2398"/>
                </a:lnTo>
                <a:lnTo>
                  <a:pt x="3465" y="2406"/>
                </a:lnTo>
                <a:lnTo>
                  <a:pt x="3421" y="2412"/>
                </a:lnTo>
                <a:lnTo>
                  <a:pt x="3376" y="2417"/>
                </a:lnTo>
                <a:lnTo>
                  <a:pt x="3333" y="2423"/>
                </a:lnTo>
                <a:lnTo>
                  <a:pt x="3289" y="2428"/>
                </a:lnTo>
                <a:lnTo>
                  <a:pt x="3246" y="2431"/>
                </a:lnTo>
                <a:lnTo>
                  <a:pt x="3205" y="2435"/>
                </a:lnTo>
                <a:lnTo>
                  <a:pt x="3162" y="2439"/>
                </a:lnTo>
                <a:lnTo>
                  <a:pt x="3120" y="2441"/>
                </a:lnTo>
                <a:lnTo>
                  <a:pt x="3037" y="2445"/>
                </a:lnTo>
                <a:lnTo>
                  <a:pt x="2954" y="2446"/>
                </a:lnTo>
                <a:lnTo>
                  <a:pt x="2875" y="2447"/>
                </a:lnTo>
                <a:lnTo>
                  <a:pt x="2835" y="2446"/>
                </a:lnTo>
                <a:lnTo>
                  <a:pt x="2797" y="2445"/>
                </a:lnTo>
                <a:lnTo>
                  <a:pt x="2759" y="2444"/>
                </a:lnTo>
                <a:lnTo>
                  <a:pt x="2721" y="2442"/>
                </a:lnTo>
                <a:lnTo>
                  <a:pt x="2678" y="2440"/>
                </a:lnTo>
                <a:lnTo>
                  <a:pt x="2643" y="2437"/>
                </a:lnTo>
                <a:lnTo>
                  <a:pt x="2610" y="2435"/>
                </a:lnTo>
                <a:lnTo>
                  <a:pt x="2574" y="2433"/>
                </a:lnTo>
                <a:lnTo>
                  <a:pt x="2546" y="2429"/>
                </a:lnTo>
                <a:lnTo>
                  <a:pt x="2509" y="2425"/>
                </a:lnTo>
                <a:lnTo>
                  <a:pt x="2471" y="2422"/>
                </a:lnTo>
                <a:lnTo>
                  <a:pt x="2436" y="2417"/>
                </a:lnTo>
                <a:lnTo>
                  <a:pt x="2372" y="2407"/>
                </a:lnTo>
                <a:lnTo>
                  <a:pt x="2307" y="2397"/>
                </a:lnTo>
                <a:lnTo>
                  <a:pt x="2242" y="2386"/>
                </a:lnTo>
                <a:lnTo>
                  <a:pt x="2182" y="2374"/>
                </a:lnTo>
                <a:lnTo>
                  <a:pt x="2122" y="2360"/>
                </a:lnTo>
                <a:lnTo>
                  <a:pt x="2065" y="2347"/>
                </a:lnTo>
                <a:lnTo>
                  <a:pt x="2011" y="2332"/>
                </a:lnTo>
                <a:lnTo>
                  <a:pt x="1960" y="2317"/>
                </a:lnTo>
                <a:lnTo>
                  <a:pt x="1911" y="2301"/>
                </a:lnTo>
                <a:lnTo>
                  <a:pt x="1863" y="2287"/>
                </a:lnTo>
                <a:lnTo>
                  <a:pt x="1817" y="2269"/>
                </a:lnTo>
                <a:lnTo>
                  <a:pt x="1772" y="2253"/>
                </a:lnTo>
                <a:lnTo>
                  <a:pt x="1729" y="2236"/>
                </a:lnTo>
                <a:lnTo>
                  <a:pt x="1690" y="2219"/>
                </a:lnTo>
                <a:lnTo>
                  <a:pt x="1651" y="2202"/>
                </a:lnTo>
                <a:lnTo>
                  <a:pt x="1614" y="2185"/>
                </a:lnTo>
                <a:lnTo>
                  <a:pt x="1580" y="2166"/>
                </a:lnTo>
                <a:lnTo>
                  <a:pt x="1545" y="2149"/>
                </a:lnTo>
                <a:lnTo>
                  <a:pt x="1513" y="2132"/>
                </a:lnTo>
                <a:lnTo>
                  <a:pt x="1484" y="2114"/>
                </a:lnTo>
                <a:lnTo>
                  <a:pt x="1454" y="2096"/>
                </a:lnTo>
                <a:lnTo>
                  <a:pt x="1427" y="2078"/>
                </a:lnTo>
                <a:lnTo>
                  <a:pt x="1402" y="2061"/>
                </a:lnTo>
                <a:lnTo>
                  <a:pt x="1377" y="2044"/>
                </a:lnTo>
                <a:lnTo>
                  <a:pt x="1354" y="2027"/>
                </a:lnTo>
                <a:lnTo>
                  <a:pt x="1332" y="2009"/>
                </a:lnTo>
                <a:lnTo>
                  <a:pt x="1311" y="1992"/>
                </a:lnTo>
                <a:lnTo>
                  <a:pt x="1291" y="1975"/>
                </a:lnTo>
                <a:lnTo>
                  <a:pt x="1274" y="1959"/>
                </a:lnTo>
                <a:lnTo>
                  <a:pt x="1257" y="1943"/>
                </a:lnTo>
                <a:lnTo>
                  <a:pt x="1241" y="1928"/>
                </a:lnTo>
                <a:lnTo>
                  <a:pt x="1225" y="1913"/>
                </a:lnTo>
                <a:lnTo>
                  <a:pt x="1197" y="1883"/>
                </a:lnTo>
                <a:lnTo>
                  <a:pt x="1172" y="1856"/>
                </a:lnTo>
                <a:lnTo>
                  <a:pt x="1161" y="1843"/>
                </a:lnTo>
                <a:lnTo>
                  <a:pt x="1151" y="1829"/>
                </a:lnTo>
                <a:lnTo>
                  <a:pt x="1142" y="1816"/>
                </a:lnTo>
                <a:lnTo>
                  <a:pt x="1132" y="1803"/>
                </a:lnTo>
                <a:lnTo>
                  <a:pt x="1116" y="1780"/>
                </a:lnTo>
                <a:lnTo>
                  <a:pt x="1102" y="1757"/>
                </a:lnTo>
                <a:lnTo>
                  <a:pt x="1090" y="1736"/>
                </a:lnTo>
                <a:lnTo>
                  <a:pt x="1080" y="1716"/>
                </a:lnTo>
                <a:lnTo>
                  <a:pt x="1072" y="1698"/>
                </a:lnTo>
                <a:lnTo>
                  <a:pt x="1064" y="1681"/>
                </a:lnTo>
                <a:lnTo>
                  <a:pt x="1052" y="1650"/>
                </a:lnTo>
                <a:lnTo>
                  <a:pt x="1044" y="1627"/>
                </a:lnTo>
                <a:lnTo>
                  <a:pt x="1035" y="1606"/>
                </a:lnTo>
                <a:lnTo>
                  <a:pt x="1028" y="1590"/>
                </a:lnTo>
                <a:lnTo>
                  <a:pt x="1020" y="1579"/>
                </a:lnTo>
                <a:lnTo>
                  <a:pt x="1015" y="1573"/>
                </a:lnTo>
                <a:lnTo>
                  <a:pt x="1013" y="1572"/>
                </a:lnTo>
                <a:lnTo>
                  <a:pt x="1010" y="1570"/>
                </a:lnTo>
                <a:lnTo>
                  <a:pt x="1008" y="1570"/>
                </a:lnTo>
                <a:lnTo>
                  <a:pt x="1006" y="1570"/>
                </a:lnTo>
                <a:lnTo>
                  <a:pt x="1003" y="1572"/>
                </a:lnTo>
                <a:lnTo>
                  <a:pt x="1001" y="1574"/>
                </a:lnTo>
                <a:lnTo>
                  <a:pt x="997" y="1576"/>
                </a:lnTo>
                <a:lnTo>
                  <a:pt x="994" y="1579"/>
                </a:lnTo>
                <a:lnTo>
                  <a:pt x="991" y="1588"/>
                </a:lnTo>
                <a:lnTo>
                  <a:pt x="987" y="1599"/>
                </a:lnTo>
                <a:lnTo>
                  <a:pt x="985" y="1611"/>
                </a:lnTo>
                <a:lnTo>
                  <a:pt x="983" y="1617"/>
                </a:lnTo>
                <a:lnTo>
                  <a:pt x="982" y="1624"/>
                </a:lnTo>
                <a:lnTo>
                  <a:pt x="981" y="1640"/>
                </a:lnTo>
                <a:lnTo>
                  <a:pt x="981" y="1657"/>
                </a:lnTo>
                <a:lnTo>
                  <a:pt x="981" y="1675"/>
                </a:lnTo>
                <a:lnTo>
                  <a:pt x="982" y="1693"/>
                </a:lnTo>
                <a:lnTo>
                  <a:pt x="985" y="1713"/>
                </a:lnTo>
                <a:lnTo>
                  <a:pt x="987" y="1732"/>
                </a:lnTo>
                <a:lnTo>
                  <a:pt x="991" y="1753"/>
                </a:lnTo>
                <a:lnTo>
                  <a:pt x="996" y="1773"/>
                </a:lnTo>
                <a:lnTo>
                  <a:pt x="1001" y="1792"/>
                </a:lnTo>
                <a:lnTo>
                  <a:pt x="1007" y="1812"/>
                </a:lnTo>
                <a:lnTo>
                  <a:pt x="1013" y="1832"/>
                </a:lnTo>
                <a:lnTo>
                  <a:pt x="1021" y="1850"/>
                </a:lnTo>
                <a:lnTo>
                  <a:pt x="1037" y="1886"/>
                </a:lnTo>
                <a:lnTo>
                  <a:pt x="1053" y="1915"/>
                </a:lnTo>
                <a:lnTo>
                  <a:pt x="1075" y="1955"/>
                </a:lnTo>
                <a:lnTo>
                  <a:pt x="1082" y="1968"/>
                </a:lnTo>
                <a:lnTo>
                  <a:pt x="1083" y="1971"/>
                </a:lnTo>
                <a:lnTo>
                  <a:pt x="1084" y="1974"/>
                </a:lnTo>
                <a:lnTo>
                  <a:pt x="1083" y="1974"/>
                </a:lnTo>
                <a:lnTo>
                  <a:pt x="1082" y="1974"/>
                </a:lnTo>
                <a:lnTo>
                  <a:pt x="1079" y="1973"/>
                </a:lnTo>
                <a:lnTo>
                  <a:pt x="1074" y="1969"/>
                </a:lnTo>
                <a:lnTo>
                  <a:pt x="1066" y="1962"/>
                </a:lnTo>
                <a:lnTo>
                  <a:pt x="1056" y="1953"/>
                </a:lnTo>
                <a:lnTo>
                  <a:pt x="1046" y="1943"/>
                </a:lnTo>
                <a:lnTo>
                  <a:pt x="1034" y="1931"/>
                </a:lnTo>
                <a:lnTo>
                  <a:pt x="1021" y="1917"/>
                </a:lnTo>
                <a:lnTo>
                  <a:pt x="1015" y="1910"/>
                </a:lnTo>
                <a:lnTo>
                  <a:pt x="1009" y="1903"/>
                </a:lnTo>
                <a:lnTo>
                  <a:pt x="996" y="1886"/>
                </a:lnTo>
                <a:lnTo>
                  <a:pt x="982" y="1868"/>
                </a:lnTo>
                <a:lnTo>
                  <a:pt x="970" y="1849"/>
                </a:lnTo>
                <a:lnTo>
                  <a:pt x="956" y="1828"/>
                </a:lnTo>
                <a:lnTo>
                  <a:pt x="944" y="1805"/>
                </a:lnTo>
                <a:lnTo>
                  <a:pt x="938" y="1794"/>
                </a:lnTo>
                <a:lnTo>
                  <a:pt x="932" y="1781"/>
                </a:lnTo>
                <a:lnTo>
                  <a:pt x="920" y="1756"/>
                </a:lnTo>
                <a:lnTo>
                  <a:pt x="909" y="1729"/>
                </a:lnTo>
                <a:lnTo>
                  <a:pt x="899" y="1699"/>
                </a:lnTo>
                <a:lnTo>
                  <a:pt x="890" y="1670"/>
                </a:lnTo>
                <a:lnTo>
                  <a:pt x="884" y="1638"/>
                </a:lnTo>
                <a:lnTo>
                  <a:pt x="882" y="1622"/>
                </a:lnTo>
                <a:lnTo>
                  <a:pt x="879" y="1606"/>
                </a:lnTo>
                <a:lnTo>
                  <a:pt x="878" y="1589"/>
                </a:lnTo>
                <a:lnTo>
                  <a:pt x="878" y="1573"/>
                </a:lnTo>
                <a:lnTo>
                  <a:pt x="878" y="1541"/>
                </a:lnTo>
                <a:lnTo>
                  <a:pt x="878" y="1532"/>
                </a:lnTo>
                <a:lnTo>
                  <a:pt x="878" y="1524"/>
                </a:lnTo>
                <a:lnTo>
                  <a:pt x="879" y="1508"/>
                </a:lnTo>
                <a:lnTo>
                  <a:pt x="882" y="1492"/>
                </a:lnTo>
                <a:lnTo>
                  <a:pt x="884" y="1475"/>
                </a:lnTo>
                <a:lnTo>
                  <a:pt x="887" y="1459"/>
                </a:lnTo>
                <a:lnTo>
                  <a:pt x="890" y="1443"/>
                </a:lnTo>
                <a:lnTo>
                  <a:pt x="894" y="1426"/>
                </a:lnTo>
                <a:lnTo>
                  <a:pt x="898" y="1410"/>
                </a:lnTo>
                <a:lnTo>
                  <a:pt x="902" y="1394"/>
                </a:lnTo>
                <a:lnTo>
                  <a:pt x="907" y="1378"/>
                </a:lnTo>
                <a:lnTo>
                  <a:pt x="912" y="1362"/>
                </a:lnTo>
                <a:lnTo>
                  <a:pt x="918" y="1346"/>
                </a:lnTo>
                <a:lnTo>
                  <a:pt x="931" y="1315"/>
                </a:lnTo>
                <a:lnTo>
                  <a:pt x="945" y="1285"/>
                </a:lnTo>
                <a:lnTo>
                  <a:pt x="961" y="1254"/>
                </a:lnTo>
                <a:lnTo>
                  <a:pt x="970" y="1240"/>
                </a:lnTo>
                <a:lnTo>
                  <a:pt x="980" y="1226"/>
                </a:lnTo>
                <a:lnTo>
                  <a:pt x="988" y="1211"/>
                </a:lnTo>
                <a:lnTo>
                  <a:pt x="998" y="1198"/>
                </a:lnTo>
                <a:lnTo>
                  <a:pt x="1008" y="1184"/>
                </a:lnTo>
                <a:lnTo>
                  <a:pt x="1019" y="1171"/>
                </a:lnTo>
                <a:lnTo>
                  <a:pt x="1057" y="1124"/>
                </a:lnTo>
                <a:lnTo>
                  <a:pt x="1093" y="1083"/>
                </a:lnTo>
                <a:lnTo>
                  <a:pt x="1106" y="1067"/>
                </a:lnTo>
                <a:lnTo>
                  <a:pt x="1118" y="1053"/>
                </a:lnTo>
                <a:lnTo>
                  <a:pt x="1126" y="1042"/>
                </a:lnTo>
                <a:lnTo>
                  <a:pt x="1128" y="1038"/>
                </a:lnTo>
                <a:lnTo>
                  <a:pt x="1129" y="1034"/>
                </a:lnTo>
                <a:lnTo>
                  <a:pt x="1129" y="1031"/>
                </a:lnTo>
                <a:lnTo>
                  <a:pt x="1129" y="1027"/>
                </a:lnTo>
                <a:lnTo>
                  <a:pt x="1128" y="1025"/>
                </a:lnTo>
                <a:lnTo>
                  <a:pt x="1124" y="1023"/>
                </a:lnTo>
                <a:lnTo>
                  <a:pt x="1121" y="1023"/>
                </a:lnTo>
                <a:lnTo>
                  <a:pt x="1115" y="1023"/>
                </a:lnTo>
                <a:lnTo>
                  <a:pt x="1111" y="1023"/>
                </a:lnTo>
                <a:lnTo>
                  <a:pt x="1107" y="1025"/>
                </a:lnTo>
                <a:lnTo>
                  <a:pt x="1099" y="1027"/>
                </a:lnTo>
                <a:lnTo>
                  <a:pt x="1089" y="1031"/>
                </a:lnTo>
                <a:lnTo>
                  <a:pt x="1078" y="1036"/>
                </a:lnTo>
                <a:lnTo>
                  <a:pt x="1064" y="1042"/>
                </a:lnTo>
                <a:lnTo>
                  <a:pt x="1050" y="1049"/>
                </a:lnTo>
                <a:lnTo>
                  <a:pt x="1034" y="1059"/>
                </a:lnTo>
                <a:lnTo>
                  <a:pt x="1015" y="1069"/>
                </a:lnTo>
                <a:lnTo>
                  <a:pt x="975" y="1096"/>
                </a:lnTo>
                <a:lnTo>
                  <a:pt x="965" y="1102"/>
                </a:lnTo>
                <a:lnTo>
                  <a:pt x="954" y="1108"/>
                </a:lnTo>
                <a:lnTo>
                  <a:pt x="943" y="1117"/>
                </a:lnTo>
                <a:lnTo>
                  <a:pt x="932" y="1125"/>
                </a:lnTo>
                <a:lnTo>
                  <a:pt x="907" y="1145"/>
                </a:lnTo>
                <a:lnTo>
                  <a:pt x="882" y="1167"/>
                </a:lnTo>
                <a:lnTo>
                  <a:pt x="856" y="1193"/>
                </a:lnTo>
                <a:lnTo>
                  <a:pt x="842" y="1206"/>
                </a:lnTo>
                <a:lnTo>
                  <a:pt x="829" y="1220"/>
                </a:lnTo>
                <a:lnTo>
                  <a:pt x="815" y="1234"/>
                </a:lnTo>
                <a:lnTo>
                  <a:pt x="803" y="1249"/>
                </a:lnTo>
                <a:lnTo>
                  <a:pt x="790" y="1264"/>
                </a:lnTo>
                <a:lnTo>
                  <a:pt x="777" y="1280"/>
                </a:lnTo>
                <a:lnTo>
                  <a:pt x="765" y="1297"/>
                </a:lnTo>
                <a:lnTo>
                  <a:pt x="753" y="1315"/>
                </a:lnTo>
                <a:lnTo>
                  <a:pt x="741" y="1334"/>
                </a:lnTo>
                <a:lnTo>
                  <a:pt x="730" y="1353"/>
                </a:lnTo>
                <a:lnTo>
                  <a:pt x="719" y="1373"/>
                </a:lnTo>
                <a:lnTo>
                  <a:pt x="707" y="1394"/>
                </a:lnTo>
                <a:lnTo>
                  <a:pt x="698" y="1416"/>
                </a:lnTo>
                <a:lnTo>
                  <a:pt x="689" y="1439"/>
                </a:lnTo>
                <a:lnTo>
                  <a:pt x="680" y="1462"/>
                </a:lnTo>
                <a:lnTo>
                  <a:pt x="673" y="1487"/>
                </a:lnTo>
                <a:lnTo>
                  <a:pt x="667" y="1513"/>
                </a:lnTo>
                <a:lnTo>
                  <a:pt x="662" y="1540"/>
                </a:lnTo>
                <a:lnTo>
                  <a:pt x="660" y="1568"/>
                </a:lnTo>
                <a:lnTo>
                  <a:pt x="658" y="1581"/>
                </a:lnTo>
                <a:lnTo>
                  <a:pt x="657" y="1596"/>
                </a:lnTo>
                <a:lnTo>
                  <a:pt x="657" y="1612"/>
                </a:lnTo>
                <a:lnTo>
                  <a:pt x="657" y="1627"/>
                </a:lnTo>
                <a:lnTo>
                  <a:pt x="657" y="1643"/>
                </a:lnTo>
                <a:lnTo>
                  <a:pt x="658" y="1659"/>
                </a:lnTo>
                <a:lnTo>
                  <a:pt x="660" y="1673"/>
                </a:lnTo>
                <a:lnTo>
                  <a:pt x="661" y="1689"/>
                </a:lnTo>
                <a:lnTo>
                  <a:pt x="666" y="1722"/>
                </a:lnTo>
                <a:lnTo>
                  <a:pt x="668" y="1738"/>
                </a:lnTo>
                <a:lnTo>
                  <a:pt x="672" y="1756"/>
                </a:lnTo>
                <a:lnTo>
                  <a:pt x="677" y="1773"/>
                </a:lnTo>
                <a:lnTo>
                  <a:pt x="682" y="1790"/>
                </a:lnTo>
                <a:lnTo>
                  <a:pt x="694" y="1824"/>
                </a:lnTo>
                <a:lnTo>
                  <a:pt x="709" y="1860"/>
                </a:lnTo>
                <a:lnTo>
                  <a:pt x="717" y="1878"/>
                </a:lnTo>
                <a:lnTo>
                  <a:pt x="726" y="1897"/>
                </a:lnTo>
                <a:lnTo>
                  <a:pt x="736" y="1915"/>
                </a:lnTo>
                <a:lnTo>
                  <a:pt x="747" y="1933"/>
                </a:lnTo>
                <a:lnTo>
                  <a:pt x="758" y="1953"/>
                </a:lnTo>
                <a:lnTo>
                  <a:pt x="771" y="1971"/>
                </a:lnTo>
                <a:lnTo>
                  <a:pt x="784" y="1991"/>
                </a:lnTo>
                <a:lnTo>
                  <a:pt x="798" y="2009"/>
                </a:lnTo>
                <a:lnTo>
                  <a:pt x="813" y="2029"/>
                </a:lnTo>
                <a:lnTo>
                  <a:pt x="829" y="2049"/>
                </a:lnTo>
                <a:lnTo>
                  <a:pt x="845" y="2068"/>
                </a:lnTo>
                <a:lnTo>
                  <a:pt x="863" y="2088"/>
                </a:lnTo>
                <a:lnTo>
                  <a:pt x="882" y="2108"/>
                </a:lnTo>
                <a:lnTo>
                  <a:pt x="901" y="2127"/>
                </a:lnTo>
                <a:lnTo>
                  <a:pt x="922" y="2147"/>
                </a:lnTo>
                <a:lnTo>
                  <a:pt x="943" y="2166"/>
                </a:lnTo>
                <a:lnTo>
                  <a:pt x="966" y="2186"/>
                </a:lnTo>
                <a:lnTo>
                  <a:pt x="990" y="2207"/>
                </a:lnTo>
                <a:lnTo>
                  <a:pt x="1002" y="2217"/>
                </a:lnTo>
                <a:lnTo>
                  <a:pt x="1014" y="2226"/>
                </a:lnTo>
                <a:lnTo>
                  <a:pt x="1040" y="2247"/>
                </a:lnTo>
                <a:lnTo>
                  <a:pt x="1068" y="2267"/>
                </a:lnTo>
                <a:lnTo>
                  <a:pt x="1098" y="2287"/>
                </a:lnTo>
                <a:lnTo>
                  <a:pt x="1127" y="2307"/>
                </a:lnTo>
                <a:lnTo>
                  <a:pt x="1159" y="2327"/>
                </a:lnTo>
                <a:lnTo>
                  <a:pt x="1191" y="2347"/>
                </a:lnTo>
                <a:lnTo>
                  <a:pt x="1224" y="2366"/>
                </a:lnTo>
                <a:lnTo>
                  <a:pt x="1259" y="2386"/>
                </a:lnTo>
                <a:lnTo>
                  <a:pt x="1295" y="2406"/>
                </a:lnTo>
                <a:lnTo>
                  <a:pt x="1332" y="2425"/>
                </a:lnTo>
                <a:lnTo>
                  <a:pt x="1370" y="2444"/>
                </a:lnTo>
                <a:lnTo>
                  <a:pt x="1410" y="2462"/>
                </a:lnTo>
                <a:lnTo>
                  <a:pt x="1451" y="2480"/>
                </a:lnTo>
                <a:lnTo>
                  <a:pt x="1492" y="2499"/>
                </a:lnTo>
                <a:lnTo>
                  <a:pt x="1535" y="2516"/>
                </a:lnTo>
                <a:lnTo>
                  <a:pt x="1581" y="2533"/>
                </a:lnTo>
                <a:lnTo>
                  <a:pt x="1626" y="2550"/>
                </a:lnTo>
                <a:lnTo>
                  <a:pt x="1673" y="2567"/>
                </a:lnTo>
                <a:lnTo>
                  <a:pt x="1722" y="2583"/>
                </a:lnTo>
                <a:lnTo>
                  <a:pt x="1772" y="2598"/>
                </a:lnTo>
                <a:lnTo>
                  <a:pt x="1822" y="2613"/>
                </a:lnTo>
                <a:lnTo>
                  <a:pt x="1875" y="2628"/>
                </a:lnTo>
                <a:lnTo>
                  <a:pt x="1929" y="2642"/>
                </a:lnTo>
                <a:lnTo>
                  <a:pt x="1984" y="2655"/>
                </a:lnTo>
                <a:lnTo>
                  <a:pt x="2042" y="2668"/>
                </a:lnTo>
                <a:lnTo>
                  <a:pt x="2100" y="2680"/>
                </a:lnTo>
                <a:lnTo>
                  <a:pt x="2160" y="2691"/>
                </a:lnTo>
                <a:lnTo>
                  <a:pt x="2221" y="2701"/>
                </a:lnTo>
                <a:lnTo>
                  <a:pt x="2284" y="2712"/>
                </a:lnTo>
                <a:lnTo>
                  <a:pt x="2349" y="2721"/>
                </a:lnTo>
                <a:lnTo>
                  <a:pt x="2380" y="2724"/>
                </a:lnTo>
                <a:lnTo>
                  <a:pt x="2414" y="2729"/>
                </a:lnTo>
                <a:lnTo>
                  <a:pt x="2481" y="2737"/>
                </a:lnTo>
                <a:lnTo>
                  <a:pt x="2550" y="2743"/>
                </a:lnTo>
                <a:lnTo>
                  <a:pt x="2471" y="2737"/>
                </a:lnTo>
                <a:lnTo>
                  <a:pt x="2394" y="2728"/>
                </a:lnTo>
                <a:lnTo>
                  <a:pt x="2319" y="2720"/>
                </a:lnTo>
                <a:lnTo>
                  <a:pt x="2281" y="2715"/>
                </a:lnTo>
                <a:lnTo>
                  <a:pt x="2244" y="2710"/>
                </a:lnTo>
                <a:lnTo>
                  <a:pt x="2173" y="2699"/>
                </a:lnTo>
                <a:lnTo>
                  <a:pt x="2102" y="2686"/>
                </a:lnTo>
                <a:lnTo>
                  <a:pt x="2033" y="2673"/>
                </a:lnTo>
                <a:lnTo>
                  <a:pt x="1967" y="2659"/>
                </a:lnTo>
                <a:lnTo>
                  <a:pt x="1901" y="2643"/>
                </a:lnTo>
                <a:lnTo>
                  <a:pt x="1837" y="2628"/>
                </a:lnTo>
                <a:lnTo>
                  <a:pt x="1776" y="2612"/>
                </a:lnTo>
                <a:lnTo>
                  <a:pt x="1714" y="2594"/>
                </a:lnTo>
                <a:lnTo>
                  <a:pt x="1685" y="2585"/>
                </a:lnTo>
                <a:lnTo>
                  <a:pt x="1656" y="2576"/>
                </a:lnTo>
                <a:lnTo>
                  <a:pt x="1599" y="2556"/>
                </a:lnTo>
                <a:lnTo>
                  <a:pt x="1543" y="2537"/>
                </a:lnTo>
                <a:lnTo>
                  <a:pt x="1489" y="2517"/>
                </a:lnTo>
                <a:lnTo>
                  <a:pt x="1437" y="2495"/>
                </a:lnTo>
                <a:lnTo>
                  <a:pt x="1386" y="2474"/>
                </a:lnTo>
                <a:lnTo>
                  <a:pt x="1337" y="2452"/>
                </a:lnTo>
                <a:lnTo>
                  <a:pt x="1313" y="2441"/>
                </a:lnTo>
                <a:lnTo>
                  <a:pt x="1289" y="2429"/>
                </a:lnTo>
                <a:lnTo>
                  <a:pt x="1243" y="2407"/>
                </a:lnTo>
                <a:lnTo>
                  <a:pt x="1198" y="2382"/>
                </a:lnTo>
                <a:lnTo>
                  <a:pt x="1155" y="2359"/>
                </a:lnTo>
                <a:lnTo>
                  <a:pt x="1115" y="2334"/>
                </a:lnTo>
                <a:lnTo>
                  <a:pt x="1074" y="2310"/>
                </a:lnTo>
                <a:lnTo>
                  <a:pt x="1036" y="2285"/>
                </a:lnTo>
                <a:lnTo>
                  <a:pt x="999" y="2260"/>
                </a:lnTo>
                <a:lnTo>
                  <a:pt x="964" y="2234"/>
                </a:lnTo>
                <a:lnTo>
                  <a:pt x="929" y="2208"/>
                </a:lnTo>
                <a:lnTo>
                  <a:pt x="898" y="2182"/>
                </a:lnTo>
                <a:lnTo>
                  <a:pt x="867" y="2157"/>
                </a:lnTo>
                <a:lnTo>
                  <a:pt x="837" y="2131"/>
                </a:lnTo>
                <a:lnTo>
                  <a:pt x="811" y="2105"/>
                </a:lnTo>
                <a:lnTo>
                  <a:pt x="785" y="2079"/>
                </a:lnTo>
                <a:lnTo>
                  <a:pt x="761" y="2052"/>
                </a:lnTo>
                <a:lnTo>
                  <a:pt x="738" y="2027"/>
                </a:lnTo>
                <a:lnTo>
                  <a:pt x="728" y="2013"/>
                </a:lnTo>
                <a:lnTo>
                  <a:pt x="717" y="2001"/>
                </a:lnTo>
                <a:lnTo>
                  <a:pt x="698" y="1975"/>
                </a:lnTo>
                <a:lnTo>
                  <a:pt x="679" y="1949"/>
                </a:lnTo>
                <a:lnTo>
                  <a:pt x="662" y="1924"/>
                </a:lnTo>
                <a:lnTo>
                  <a:pt x="646" y="1898"/>
                </a:lnTo>
                <a:lnTo>
                  <a:pt x="633" y="1872"/>
                </a:lnTo>
                <a:lnTo>
                  <a:pt x="619" y="1846"/>
                </a:lnTo>
                <a:lnTo>
                  <a:pt x="607" y="1822"/>
                </a:lnTo>
                <a:lnTo>
                  <a:pt x="596" y="1796"/>
                </a:lnTo>
                <a:lnTo>
                  <a:pt x="587" y="1771"/>
                </a:lnTo>
                <a:lnTo>
                  <a:pt x="579" y="1746"/>
                </a:lnTo>
                <a:lnTo>
                  <a:pt x="571" y="1721"/>
                </a:lnTo>
                <a:lnTo>
                  <a:pt x="565" y="1697"/>
                </a:lnTo>
                <a:lnTo>
                  <a:pt x="559" y="1672"/>
                </a:lnTo>
                <a:lnTo>
                  <a:pt x="555" y="1649"/>
                </a:lnTo>
                <a:lnTo>
                  <a:pt x="553" y="1624"/>
                </a:lnTo>
                <a:lnTo>
                  <a:pt x="550" y="1601"/>
                </a:lnTo>
                <a:lnTo>
                  <a:pt x="549" y="1578"/>
                </a:lnTo>
                <a:lnTo>
                  <a:pt x="549" y="1554"/>
                </a:lnTo>
                <a:lnTo>
                  <a:pt x="549" y="1531"/>
                </a:lnTo>
                <a:lnTo>
                  <a:pt x="552" y="1509"/>
                </a:lnTo>
                <a:lnTo>
                  <a:pt x="554" y="1486"/>
                </a:lnTo>
                <a:lnTo>
                  <a:pt x="557" y="1464"/>
                </a:lnTo>
                <a:lnTo>
                  <a:pt x="562" y="1443"/>
                </a:lnTo>
                <a:lnTo>
                  <a:pt x="566" y="1421"/>
                </a:lnTo>
                <a:lnTo>
                  <a:pt x="571" y="1400"/>
                </a:lnTo>
                <a:lnTo>
                  <a:pt x="575" y="1389"/>
                </a:lnTo>
                <a:lnTo>
                  <a:pt x="577" y="1379"/>
                </a:lnTo>
                <a:lnTo>
                  <a:pt x="585" y="1358"/>
                </a:lnTo>
                <a:lnTo>
                  <a:pt x="593" y="1337"/>
                </a:lnTo>
                <a:lnTo>
                  <a:pt x="601" y="1318"/>
                </a:lnTo>
                <a:lnTo>
                  <a:pt x="611" y="1297"/>
                </a:lnTo>
                <a:lnTo>
                  <a:pt x="619" y="1277"/>
                </a:lnTo>
                <a:lnTo>
                  <a:pt x="630" y="1259"/>
                </a:lnTo>
                <a:lnTo>
                  <a:pt x="640" y="1239"/>
                </a:lnTo>
                <a:lnTo>
                  <a:pt x="651" y="1221"/>
                </a:lnTo>
                <a:lnTo>
                  <a:pt x="662" y="1204"/>
                </a:lnTo>
                <a:lnTo>
                  <a:pt x="674" y="1185"/>
                </a:lnTo>
                <a:lnTo>
                  <a:pt x="687" y="1168"/>
                </a:lnTo>
                <a:lnTo>
                  <a:pt x="699" y="1151"/>
                </a:lnTo>
                <a:lnTo>
                  <a:pt x="712" y="1135"/>
                </a:lnTo>
                <a:lnTo>
                  <a:pt x="726" y="1119"/>
                </a:lnTo>
                <a:lnTo>
                  <a:pt x="739" y="1103"/>
                </a:lnTo>
                <a:lnTo>
                  <a:pt x="754" y="1087"/>
                </a:lnTo>
                <a:lnTo>
                  <a:pt x="768" y="1072"/>
                </a:lnTo>
                <a:lnTo>
                  <a:pt x="782" y="1056"/>
                </a:lnTo>
                <a:lnTo>
                  <a:pt x="798" y="1042"/>
                </a:lnTo>
                <a:lnTo>
                  <a:pt x="829" y="1015"/>
                </a:lnTo>
                <a:lnTo>
                  <a:pt x="845" y="1000"/>
                </a:lnTo>
                <a:lnTo>
                  <a:pt x="861" y="988"/>
                </a:lnTo>
                <a:lnTo>
                  <a:pt x="878" y="974"/>
                </a:lnTo>
                <a:lnTo>
                  <a:pt x="894" y="962"/>
                </a:lnTo>
                <a:lnTo>
                  <a:pt x="928" y="937"/>
                </a:lnTo>
                <a:lnTo>
                  <a:pt x="963" y="914"/>
                </a:lnTo>
                <a:lnTo>
                  <a:pt x="980" y="903"/>
                </a:lnTo>
                <a:lnTo>
                  <a:pt x="998" y="892"/>
                </a:lnTo>
                <a:lnTo>
                  <a:pt x="1015" y="881"/>
                </a:lnTo>
                <a:lnTo>
                  <a:pt x="1034" y="870"/>
                </a:lnTo>
                <a:lnTo>
                  <a:pt x="1069" y="849"/>
                </a:lnTo>
                <a:lnTo>
                  <a:pt x="1088" y="839"/>
                </a:lnTo>
                <a:lnTo>
                  <a:pt x="1105" y="830"/>
                </a:lnTo>
                <a:lnTo>
                  <a:pt x="1140" y="811"/>
                </a:lnTo>
                <a:lnTo>
                  <a:pt x="1176" y="794"/>
                </a:lnTo>
                <a:lnTo>
                  <a:pt x="1212" y="777"/>
                </a:lnTo>
                <a:lnTo>
                  <a:pt x="1247" y="762"/>
                </a:lnTo>
                <a:lnTo>
                  <a:pt x="1281" y="747"/>
                </a:lnTo>
                <a:lnTo>
                  <a:pt x="1316" y="734"/>
                </a:lnTo>
                <a:lnTo>
                  <a:pt x="1383" y="709"/>
                </a:lnTo>
                <a:lnTo>
                  <a:pt x="1416" y="698"/>
                </a:lnTo>
                <a:lnTo>
                  <a:pt x="1450" y="687"/>
                </a:lnTo>
                <a:lnTo>
                  <a:pt x="1481" y="677"/>
                </a:lnTo>
                <a:lnTo>
                  <a:pt x="1513" y="669"/>
                </a:lnTo>
                <a:lnTo>
                  <a:pt x="1575" y="652"/>
                </a:lnTo>
                <a:lnTo>
                  <a:pt x="1636" y="637"/>
                </a:lnTo>
                <a:lnTo>
                  <a:pt x="1695" y="624"/>
                </a:lnTo>
                <a:lnTo>
                  <a:pt x="1750" y="611"/>
                </a:lnTo>
                <a:lnTo>
                  <a:pt x="1802" y="601"/>
                </a:lnTo>
                <a:lnTo>
                  <a:pt x="1851" y="593"/>
                </a:lnTo>
                <a:lnTo>
                  <a:pt x="1897" y="586"/>
                </a:lnTo>
                <a:lnTo>
                  <a:pt x="1941" y="579"/>
                </a:lnTo>
                <a:lnTo>
                  <a:pt x="1982" y="574"/>
                </a:lnTo>
                <a:lnTo>
                  <a:pt x="2055" y="566"/>
                </a:lnTo>
                <a:lnTo>
                  <a:pt x="2089" y="563"/>
                </a:lnTo>
                <a:lnTo>
                  <a:pt x="2118" y="561"/>
                </a:lnTo>
                <a:lnTo>
                  <a:pt x="2171" y="559"/>
                </a:lnTo>
                <a:lnTo>
                  <a:pt x="2215" y="556"/>
                </a:lnTo>
                <a:lnTo>
                  <a:pt x="2253" y="554"/>
                </a:lnTo>
                <a:lnTo>
                  <a:pt x="2281" y="550"/>
                </a:lnTo>
                <a:lnTo>
                  <a:pt x="2300" y="547"/>
                </a:lnTo>
                <a:lnTo>
                  <a:pt x="2307" y="546"/>
                </a:lnTo>
                <a:lnTo>
                  <a:pt x="2312" y="545"/>
                </a:lnTo>
                <a:lnTo>
                  <a:pt x="2314" y="544"/>
                </a:lnTo>
                <a:lnTo>
                  <a:pt x="2315" y="543"/>
                </a:lnTo>
                <a:lnTo>
                  <a:pt x="2317" y="541"/>
                </a:lnTo>
                <a:lnTo>
                  <a:pt x="2315" y="540"/>
                </a:lnTo>
                <a:lnTo>
                  <a:pt x="2309" y="538"/>
                </a:lnTo>
                <a:lnTo>
                  <a:pt x="2301" y="534"/>
                </a:lnTo>
                <a:lnTo>
                  <a:pt x="2284" y="532"/>
                </a:lnTo>
                <a:lnTo>
                  <a:pt x="2264" y="528"/>
                </a:lnTo>
                <a:lnTo>
                  <a:pt x="2241" y="525"/>
                </a:lnTo>
                <a:lnTo>
                  <a:pt x="2215" y="523"/>
                </a:lnTo>
                <a:lnTo>
                  <a:pt x="2156" y="519"/>
                </a:lnTo>
                <a:lnTo>
                  <a:pt x="2124" y="518"/>
                </a:lnTo>
                <a:lnTo>
                  <a:pt x="2091" y="517"/>
                </a:lnTo>
                <a:lnTo>
                  <a:pt x="2020" y="516"/>
                </a:lnTo>
                <a:lnTo>
                  <a:pt x="1983" y="516"/>
                </a:lnTo>
                <a:lnTo>
                  <a:pt x="1945" y="517"/>
                </a:lnTo>
                <a:lnTo>
                  <a:pt x="1907" y="517"/>
                </a:lnTo>
                <a:lnTo>
                  <a:pt x="1869" y="519"/>
                </a:lnTo>
                <a:lnTo>
                  <a:pt x="1831" y="520"/>
                </a:lnTo>
                <a:lnTo>
                  <a:pt x="1794" y="523"/>
                </a:lnTo>
                <a:lnTo>
                  <a:pt x="1727" y="529"/>
                </a:lnTo>
                <a:lnTo>
                  <a:pt x="1696" y="533"/>
                </a:lnTo>
                <a:lnTo>
                  <a:pt x="1667" y="536"/>
                </a:lnTo>
                <a:lnTo>
                  <a:pt x="1614" y="543"/>
                </a:lnTo>
                <a:lnTo>
                  <a:pt x="1570" y="549"/>
                </a:lnTo>
                <a:lnTo>
                  <a:pt x="1537" y="554"/>
                </a:lnTo>
                <a:lnTo>
                  <a:pt x="1515" y="556"/>
                </a:lnTo>
                <a:lnTo>
                  <a:pt x="1511" y="556"/>
                </a:lnTo>
                <a:lnTo>
                  <a:pt x="1510" y="555"/>
                </a:lnTo>
                <a:lnTo>
                  <a:pt x="1507" y="555"/>
                </a:lnTo>
                <a:lnTo>
                  <a:pt x="1503" y="556"/>
                </a:lnTo>
                <a:lnTo>
                  <a:pt x="1507" y="554"/>
                </a:lnTo>
                <a:lnTo>
                  <a:pt x="1507" y="552"/>
                </a:lnTo>
                <a:lnTo>
                  <a:pt x="1505" y="554"/>
                </a:lnTo>
                <a:lnTo>
                  <a:pt x="1527" y="546"/>
                </a:lnTo>
                <a:lnTo>
                  <a:pt x="1553" y="539"/>
                </a:lnTo>
                <a:lnTo>
                  <a:pt x="1589" y="530"/>
                </a:lnTo>
                <a:lnTo>
                  <a:pt x="1641" y="519"/>
                </a:lnTo>
                <a:lnTo>
                  <a:pt x="1700" y="508"/>
                </a:lnTo>
                <a:lnTo>
                  <a:pt x="1781" y="495"/>
                </a:lnTo>
                <a:lnTo>
                  <a:pt x="1869" y="484"/>
                </a:lnTo>
                <a:lnTo>
                  <a:pt x="1916" y="479"/>
                </a:lnTo>
                <a:lnTo>
                  <a:pt x="1967" y="474"/>
                </a:lnTo>
                <a:lnTo>
                  <a:pt x="2019" y="471"/>
                </a:lnTo>
                <a:lnTo>
                  <a:pt x="2074" y="468"/>
                </a:lnTo>
                <a:lnTo>
                  <a:pt x="2131" y="467"/>
                </a:lnTo>
                <a:lnTo>
                  <a:pt x="2192" y="464"/>
                </a:lnTo>
                <a:lnTo>
                  <a:pt x="2252" y="464"/>
                </a:lnTo>
                <a:lnTo>
                  <a:pt x="2312" y="464"/>
                </a:lnTo>
                <a:lnTo>
                  <a:pt x="2341" y="465"/>
                </a:lnTo>
                <a:lnTo>
                  <a:pt x="2371" y="467"/>
                </a:lnTo>
                <a:lnTo>
                  <a:pt x="2399" y="468"/>
                </a:lnTo>
                <a:lnTo>
                  <a:pt x="2426" y="470"/>
                </a:lnTo>
                <a:lnTo>
                  <a:pt x="2491" y="474"/>
                </a:lnTo>
                <a:lnTo>
                  <a:pt x="2551" y="479"/>
                </a:lnTo>
                <a:lnTo>
                  <a:pt x="2607" y="485"/>
                </a:lnTo>
                <a:lnTo>
                  <a:pt x="2661" y="491"/>
                </a:lnTo>
                <a:lnTo>
                  <a:pt x="2714" y="500"/>
                </a:lnTo>
                <a:lnTo>
                  <a:pt x="2766" y="508"/>
                </a:lnTo>
                <a:lnTo>
                  <a:pt x="2869" y="528"/>
                </a:lnTo>
                <a:lnTo>
                  <a:pt x="2914" y="536"/>
                </a:lnTo>
                <a:lnTo>
                  <a:pt x="2956" y="546"/>
                </a:lnTo>
                <a:lnTo>
                  <a:pt x="3032" y="563"/>
                </a:lnTo>
                <a:lnTo>
                  <a:pt x="3064" y="571"/>
                </a:lnTo>
                <a:lnTo>
                  <a:pt x="3091" y="576"/>
                </a:lnTo>
                <a:lnTo>
                  <a:pt x="3114" y="581"/>
                </a:lnTo>
                <a:lnTo>
                  <a:pt x="3132" y="583"/>
                </a:lnTo>
                <a:lnTo>
                  <a:pt x="3138" y="583"/>
                </a:lnTo>
                <a:lnTo>
                  <a:pt x="3143" y="582"/>
                </a:lnTo>
                <a:lnTo>
                  <a:pt x="3147" y="581"/>
                </a:lnTo>
                <a:lnTo>
                  <a:pt x="3148" y="579"/>
                </a:lnTo>
                <a:lnTo>
                  <a:pt x="3149" y="578"/>
                </a:lnTo>
                <a:lnTo>
                  <a:pt x="3149" y="577"/>
                </a:lnTo>
                <a:lnTo>
                  <a:pt x="3148" y="573"/>
                </a:lnTo>
                <a:lnTo>
                  <a:pt x="3145" y="570"/>
                </a:lnTo>
                <a:lnTo>
                  <a:pt x="3138" y="565"/>
                </a:lnTo>
                <a:lnTo>
                  <a:pt x="3131" y="559"/>
                </a:lnTo>
                <a:lnTo>
                  <a:pt x="3121" y="552"/>
                </a:lnTo>
                <a:lnTo>
                  <a:pt x="3094" y="538"/>
                </a:lnTo>
                <a:lnTo>
                  <a:pt x="3076" y="529"/>
                </a:lnTo>
                <a:lnTo>
                  <a:pt x="3055" y="520"/>
                </a:lnTo>
                <a:lnTo>
                  <a:pt x="3006" y="498"/>
                </a:lnTo>
                <a:lnTo>
                  <a:pt x="2939" y="475"/>
                </a:lnTo>
                <a:lnTo>
                  <a:pt x="2900" y="462"/>
                </a:lnTo>
                <a:lnTo>
                  <a:pt x="2856" y="448"/>
                </a:lnTo>
                <a:lnTo>
                  <a:pt x="2833" y="442"/>
                </a:lnTo>
                <a:lnTo>
                  <a:pt x="2809" y="436"/>
                </a:lnTo>
                <a:lnTo>
                  <a:pt x="2782" y="429"/>
                </a:lnTo>
                <a:lnTo>
                  <a:pt x="2755" y="422"/>
                </a:lnTo>
                <a:lnTo>
                  <a:pt x="2694" y="410"/>
                </a:lnTo>
                <a:lnTo>
                  <a:pt x="2661" y="404"/>
                </a:lnTo>
                <a:lnTo>
                  <a:pt x="2627" y="398"/>
                </a:lnTo>
                <a:lnTo>
                  <a:pt x="2593" y="392"/>
                </a:lnTo>
                <a:lnTo>
                  <a:pt x="2556" y="387"/>
                </a:lnTo>
                <a:lnTo>
                  <a:pt x="2518" y="381"/>
                </a:lnTo>
                <a:lnTo>
                  <a:pt x="2480" y="376"/>
                </a:lnTo>
                <a:lnTo>
                  <a:pt x="2398" y="367"/>
                </a:lnTo>
                <a:lnTo>
                  <a:pt x="2353" y="364"/>
                </a:lnTo>
                <a:lnTo>
                  <a:pt x="2309" y="361"/>
                </a:lnTo>
                <a:lnTo>
                  <a:pt x="2263" y="359"/>
                </a:lnTo>
                <a:lnTo>
                  <a:pt x="2216" y="356"/>
                </a:lnTo>
                <a:lnTo>
                  <a:pt x="2167" y="355"/>
                </a:lnTo>
                <a:lnTo>
                  <a:pt x="2117" y="354"/>
                </a:lnTo>
                <a:lnTo>
                  <a:pt x="2011" y="354"/>
                </a:lnTo>
                <a:lnTo>
                  <a:pt x="1901" y="356"/>
                </a:lnTo>
                <a:lnTo>
                  <a:pt x="1840" y="361"/>
                </a:lnTo>
                <a:lnTo>
                  <a:pt x="1778" y="366"/>
                </a:lnTo>
                <a:lnTo>
                  <a:pt x="1717" y="371"/>
                </a:lnTo>
                <a:lnTo>
                  <a:pt x="1654" y="378"/>
                </a:lnTo>
                <a:lnTo>
                  <a:pt x="1591" y="387"/>
                </a:lnTo>
                <a:lnTo>
                  <a:pt x="1527" y="395"/>
                </a:lnTo>
                <a:lnTo>
                  <a:pt x="1463" y="406"/>
                </a:lnTo>
                <a:lnTo>
                  <a:pt x="1398" y="419"/>
                </a:lnTo>
                <a:lnTo>
                  <a:pt x="1365" y="426"/>
                </a:lnTo>
                <a:lnTo>
                  <a:pt x="1332" y="433"/>
                </a:lnTo>
                <a:lnTo>
                  <a:pt x="1299" y="441"/>
                </a:lnTo>
                <a:lnTo>
                  <a:pt x="1264" y="449"/>
                </a:lnTo>
                <a:lnTo>
                  <a:pt x="1231" y="458"/>
                </a:lnTo>
                <a:lnTo>
                  <a:pt x="1197" y="467"/>
                </a:lnTo>
                <a:lnTo>
                  <a:pt x="1128" y="486"/>
                </a:lnTo>
                <a:lnTo>
                  <a:pt x="1059" y="508"/>
                </a:lnTo>
                <a:lnTo>
                  <a:pt x="1024" y="520"/>
                </a:lnTo>
                <a:lnTo>
                  <a:pt x="988" y="533"/>
                </a:lnTo>
                <a:lnTo>
                  <a:pt x="917" y="561"/>
                </a:lnTo>
                <a:lnTo>
                  <a:pt x="882" y="574"/>
                </a:lnTo>
                <a:lnTo>
                  <a:pt x="845" y="590"/>
                </a:lnTo>
                <a:lnTo>
                  <a:pt x="809" y="606"/>
                </a:lnTo>
                <a:lnTo>
                  <a:pt x="774" y="622"/>
                </a:lnTo>
                <a:lnTo>
                  <a:pt x="739" y="638"/>
                </a:lnTo>
                <a:lnTo>
                  <a:pt x="704" y="655"/>
                </a:lnTo>
                <a:lnTo>
                  <a:pt x="671" y="674"/>
                </a:lnTo>
                <a:lnTo>
                  <a:pt x="638" y="691"/>
                </a:lnTo>
                <a:lnTo>
                  <a:pt x="606" y="709"/>
                </a:lnTo>
                <a:lnTo>
                  <a:pt x="574" y="727"/>
                </a:lnTo>
                <a:lnTo>
                  <a:pt x="542" y="746"/>
                </a:lnTo>
                <a:lnTo>
                  <a:pt x="510" y="767"/>
                </a:lnTo>
                <a:lnTo>
                  <a:pt x="477" y="789"/>
                </a:lnTo>
                <a:lnTo>
                  <a:pt x="445" y="812"/>
                </a:lnTo>
                <a:lnTo>
                  <a:pt x="414" y="834"/>
                </a:lnTo>
                <a:lnTo>
                  <a:pt x="385" y="858"/>
                </a:lnTo>
                <a:lnTo>
                  <a:pt x="330" y="901"/>
                </a:lnTo>
                <a:lnTo>
                  <a:pt x="272" y="955"/>
                </a:lnTo>
                <a:lnTo>
                  <a:pt x="245" y="980"/>
                </a:lnTo>
                <a:lnTo>
                  <a:pt x="221" y="1006"/>
                </a:lnTo>
                <a:lnTo>
                  <a:pt x="197" y="1032"/>
                </a:lnTo>
                <a:lnTo>
                  <a:pt x="174" y="1059"/>
                </a:lnTo>
                <a:lnTo>
                  <a:pt x="152" y="1087"/>
                </a:lnTo>
                <a:lnTo>
                  <a:pt x="130" y="1117"/>
                </a:lnTo>
                <a:lnTo>
                  <a:pt x="88" y="1184"/>
                </a:lnTo>
                <a:lnTo>
                  <a:pt x="71" y="1213"/>
                </a:lnTo>
                <a:lnTo>
                  <a:pt x="55" y="1239"/>
                </a:lnTo>
                <a:lnTo>
                  <a:pt x="48" y="1253"/>
                </a:lnTo>
                <a:lnTo>
                  <a:pt x="40" y="1266"/>
                </a:lnTo>
                <a:lnTo>
                  <a:pt x="33" y="1281"/>
                </a:lnTo>
                <a:lnTo>
                  <a:pt x="27" y="1297"/>
                </a:lnTo>
                <a:lnTo>
                  <a:pt x="12" y="1332"/>
                </a:lnTo>
                <a:lnTo>
                  <a:pt x="6" y="1351"/>
                </a:lnTo>
                <a:lnTo>
                  <a:pt x="0" y="1372"/>
                </a:lnTo>
                <a:close/>
              </a:path>
            </a:pathLst>
          </a:custGeom>
          <a:solidFill>
            <a:srgbClr val="FFE600"/>
          </a:solidFill>
          <a:ln w="9525">
            <a:noFill/>
            <a:round/>
            <a:headEnd/>
            <a:tailEnd/>
          </a:ln>
        </p:spPr>
        <p:txBody>
          <a:bodyPr/>
          <a:lstStyle/>
          <a:p>
            <a:endParaRPr lang="en-US"/>
          </a:p>
        </p:txBody>
      </p:sp>
      <p:sp>
        <p:nvSpPr>
          <p:cNvPr id="3" name="Freeform 6">
            <a:extLst>
              <a:ext uri="{FF2B5EF4-FFF2-40B4-BE49-F238E27FC236}">
                <a16:creationId xmlns:a16="http://schemas.microsoft.com/office/drawing/2014/main" id="{C9C7E278-835C-8AEB-4881-B5F2ADEF9E00}"/>
              </a:ext>
            </a:extLst>
          </p:cNvPr>
          <p:cNvSpPr>
            <a:spLocks noEditPoints="1"/>
          </p:cNvSpPr>
          <p:nvPr/>
        </p:nvSpPr>
        <p:spPr bwMode="auto">
          <a:xfrm>
            <a:off x="2583984" y="1850170"/>
            <a:ext cx="7194550" cy="3919537"/>
          </a:xfrm>
          <a:custGeom>
            <a:avLst/>
            <a:gdLst>
              <a:gd name="T0" fmla="*/ 2147483647 w 9546"/>
              <a:gd name="T1" fmla="*/ 2147483647 h 5133"/>
              <a:gd name="T2" fmla="*/ 2147483647 w 9546"/>
              <a:gd name="T3" fmla="*/ 2147483647 h 5133"/>
              <a:gd name="T4" fmla="*/ 2147483647 w 9546"/>
              <a:gd name="T5" fmla="*/ 2147483647 h 5133"/>
              <a:gd name="T6" fmla="*/ 2147483647 w 9546"/>
              <a:gd name="T7" fmla="*/ 2147483647 h 5133"/>
              <a:gd name="T8" fmla="*/ 2147483647 w 9546"/>
              <a:gd name="T9" fmla="*/ 2147483647 h 5133"/>
              <a:gd name="T10" fmla="*/ 2147483647 w 9546"/>
              <a:gd name="T11" fmla="*/ 2147483647 h 5133"/>
              <a:gd name="T12" fmla="*/ 2147483647 w 9546"/>
              <a:gd name="T13" fmla="*/ 2147483647 h 5133"/>
              <a:gd name="T14" fmla="*/ 2147483647 w 9546"/>
              <a:gd name="T15" fmla="*/ 2147483647 h 5133"/>
              <a:gd name="T16" fmla="*/ 2147483647 w 9546"/>
              <a:gd name="T17" fmla="*/ 2147483647 h 5133"/>
              <a:gd name="T18" fmla="*/ 2147483647 w 9546"/>
              <a:gd name="T19" fmla="*/ 2147483647 h 5133"/>
              <a:gd name="T20" fmla="*/ 2147483647 w 9546"/>
              <a:gd name="T21" fmla="*/ 2147483647 h 5133"/>
              <a:gd name="T22" fmla="*/ 2147483647 w 9546"/>
              <a:gd name="T23" fmla="*/ 2147483647 h 5133"/>
              <a:gd name="T24" fmla="*/ 2147483647 w 9546"/>
              <a:gd name="T25" fmla="*/ 2147483647 h 5133"/>
              <a:gd name="T26" fmla="*/ 2147483647 w 9546"/>
              <a:gd name="T27" fmla="*/ 2147483647 h 5133"/>
              <a:gd name="T28" fmla="*/ 2147483647 w 9546"/>
              <a:gd name="T29" fmla="*/ 2147483647 h 5133"/>
              <a:gd name="T30" fmla="*/ 2147483647 w 9546"/>
              <a:gd name="T31" fmla="*/ 2147483647 h 5133"/>
              <a:gd name="T32" fmla="*/ 2147483647 w 9546"/>
              <a:gd name="T33" fmla="*/ 2147483647 h 5133"/>
              <a:gd name="T34" fmla="*/ 2147483647 w 9546"/>
              <a:gd name="T35" fmla="*/ 2147483647 h 5133"/>
              <a:gd name="T36" fmla="*/ 2147483647 w 9546"/>
              <a:gd name="T37" fmla="*/ 2147483647 h 5133"/>
              <a:gd name="T38" fmla="*/ 2147483647 w 9546"/>
              <a:gd name="T39" fmla="*/ 2147483647 h 5133"/>
              <a:gd name="T40" fmla="*/ 2147483647 w 9546"/>
              <a:gd name="T41" fmla="*/ 2147483647 h 5133"/>
              <a:gd name="T42" fmla="*/ 2147483647 w 9546"/>
              <a:gd name="T43" fmla="*/ 2147483647 h 5133"/>
              <a:gd name="T44" fmla="*/ 2147483647 w 9546"/>
              <a:gd name="T45" fmla="*/ 2147483647 h 5133"/>
              <a:gd name="T46" fmla="*/ 2147483647 w 9546"/>
              <a:gd name="T47" fmla="*/ 2147483647 h 5133"/>
              <a:gd name="T48" fmla="*/ 2147483647 w 9546"/>
              <a:gd name="T49" fmla="*/ 2147483647 h 5133"/>
              <a:gd name="T50" fmla="*/ 2147483647 w 9546"/>
              <a:gd name="T51" fmla="*/ 2147483647 h 5133"/>
              <a:gd name="T52" fmla="*/ 2147483647 w 9546"/>
              <a:gd name="T53" fmla="*/ 2147483647 h 5133"/>
              <a:gd name="T54" fmla="*/ 2147483647 w 9546"/>
              <a:gd name="T55" fmla="*/ 2147483647 h 5133"/>
              <a:gd name="T56" fmla="*/ 2147483647 w 9546"/>
              <a:gd name="T57" fmla="*/ 2147483647 h 5133"/>
              <a:gd name="T58" fmla="*/ 2147483647 w 9546"/>
              <a:gd name="T59" fmla="*/ 2147483647 h 5133"/>
              <a:gd name="T60" fmla="*/ 2147483647 w 9546"/>
              <a:gd name="T61" fmla="*/ 2147483647 h 5133"/>
              <a:gd name="T62" fmla="*/ 2147483647 w 9546"/>
              <a:gd name="T63" fmla="*/ 2147483647 h 5133"/>
              <a:gd name="T64" fmla="*/ 2147483647 w 9546"/>
              <a:gd name="T65" fmla="*/ 2147483647 h 5133"/>
              <a:gd name="T66" fmla="*/ 2147483647 w 9546"/>
              <a:gd name="T67" fmla="*/ 2147483647 h 5133"/>
              <a:gd name="T68" fmla="*/ 2147483647 w 9546"/>
              <a:gd name="T69" fmla="*/ 2147483647 h 5133"/>
              <a:gd name="T70" fmla="*/ 2147483647 w 9546"/>
              <a:gd name="T71" fmla="*/ 2147483647 h 5133"/>
              <a:gd name="T72" fmla="*/ 2147483647 w 9546"/>
              <a:gd name="T73" fmla="*/ 2147483647 h 5133"/>
              <a:gd name="T74" fmla="*/ 2147483647 w 9546"/>
              <a:gd name="T75" fmla="*/ 2147483647 h 5133"/>
              <a:gd name="T76" fmla="*/ 2147483647 w 9546"/>
              <a:gd name="T77" fmla="*/ 2147483647 h 5133"/>
              <a:gd name="T78" fmla="*/ 2147483647 w 9546"/>
              <a:gd name="T79" fmla="*/ 2147483647 h 5133"/>
              <a:gd name="T80" fmla="*/ 2147483647 w 9546"/>
              <a:gd name="T81" fmla="*/ 2147483647 h 5133"/>
              <a:gd name="T82" fmla="*/ 2147483647 w 9546"/>
              <a:gd name="T83" fmla="*/ 2147483647 h 5133"/>
              <a:gd name="T84" fmla="*/ 2147483647 w 9546"/>
              <a:gd name="T85" fmla="*/ 2147483647 h 5133"/>
              <a:gd name="T86" fmla="*/ 2147483647 w 9546"/>
              <a:gd name="T87" fmla="*/ 2147483647 h 5133"/>
              <a:gd name="T88" fmla="*/ 2147483647 w 9546"/>
              <a:gd name="T89" fmla="*/ 2147483647 h 5133"/>
              <a:gd name="T90" fmla="*/ 2147483647 w 9546"/>
              <a:gd name="T91" fmla="*/ 2147483647 h 5133"/>
              <a:gd name="T92" fmla="*/ 2147483647 w 9546"/>
              <a:gd name="T93" fmla="*/ 2147483647 h 5133"/>
              <a:gd name="T94" fmla="*/ 2147483647 w 9546"/>
              <a:gd name="T95" fmla="*/ 2147483647 h 5133"/>
              <a:gd name="T96" fmla="*/ 2147483647 w 9546"/>
              <a:gd name="T97" fmla="*/ 2147483647 h 5133"/>
              <a:gd name="T98" fmla="*/ 2147483647 w 9546"/>
              <a:gd name="T99" fmla="*/ 2147483647 h 5133"/>
              <a:gd name="T100" fmla="*/ 2147483647 w 9546"/>
              <a:gd name="T101" fmla="*/ 2147483647 h 5133"/>
              <a:gd name="T102" fmla="*/ 2147483647 w 9546"/>
              <a:gd name="T103" fmla="*/ 2147483647 h 5133"/>
              <a:gd name="T104" fmla="*/ 2147483647 w 9546"/>
              <a:gd name="T105" fmla="*/ 2147483647 h 5133"/>
              <a:gd name="T106" fmla="*/ 2147483647 w 9546"/>
              <a:gd name="T107" fmla="*/ 2147483647 h 5133"/>
              <a:gd name="T108" fmla="*/ 2147483647 w 9546"/>
              <a:gd name="T109" fmla="*/ 2147483647 h 5133"/>
              <a:gd name="T110" fmla="*/ 2147483647 w 9546"/>
              <a:gd name="T111" fmla="*/ 2147483647 h 5133"/>
              <a:gd name="T112" fmla="*/ 2147483647 w 9546"/>
              <a:gd name="T113" fmla="*/ 2147483647 h 5133"/>
              <a:gd name="T114" fmla="*/ 2147483647 w 9546"/>
              <a:gd name="T115" fmla="*/ 2147483647 h 5133"/>
              <a:gd name="T116" fmla="*/ 2147483647 w 9546"/>
              <a:gd name="T117" fmla="*/ 2147483647 h 5133"/>
              <a:gd name="T118" fmla="*/ 2147483647 w 9546"/>
              <a:gd name="T119" fmla="*/ 2147483647 h 5133"/>
              <a:gd name="T120" fmla="*/ 2147483647 w 9546"/>
              <a:gd name="T121" fmla="*/ 2147483647 h 5133"/>
              <a:gd name="T122" fmla="*/ 2147483647 w 9546"/>
              <a:gd name="T123" fmla="*/ 2147483647 h 5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546"/>
              <a:gd name="T187" fmla="*/ 0 h 5133"/>
              <a:gd name="T188" fmla="*/ 9546 w 9546"/>
              <a:gd name="T189" fmla="*/ 5133 h 51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546" h="5133">
                <a:moveTo>
                  <a:pt x="2108" y="2512"/>
                </a:moveTo>
                <a:lnTo>
                  <a:pt x="2121" y="2469"/>
                </a:lnTo>
                <a:lnTo>
                  <a:pt x="2135" y="2432"/>
                </a:lnTo>
                <a:lnTo>
                  <a:pt x="2169" y="2354"/>
                </a:lnTo>
                <a:lnTo>
                  <a:pt x="2210" y="2286"/>
                </a:lnTo>
                <a:lnTo>
                  <a:pt x="2260" y="2206"/>
                </a:lnTo>
                <a:lnTo>
                  <a:pt x="2286" y="2171"/>
                </a:lnTo>
                <a:lnTo>
                  <a:pt x="2313" y="2137"/>
                </a:lnTo>
                <a:lnTo>
                  <a:pt x="2372" y="2073"/>
                </a:lnTo>
                <a:lnTo>
                  <a:pt x="2435" y="2011"/>
                </a:lnTo>
                <a:lnTo>
                  <a:pt x="2509" y="1948"/>
                </a:lnTo>
                <a:lnTo>
                  <a:pt x="2584" y="1891"/>
                </a:lnTo>
                <a:lnTo>
                  <a:pt x="2662" y="1837"/>
                </a:lnTo>
                <a:lnTo>
                  <a:pt x="2743" y="1787"/>
                </a:lnTo>
                <a:lnTo>
                  <a:pt x="2828" y="1739"/>
                </a:lnTo>
                <a:lnTo>
                  <a:pt x="2914" y="1695"/>
                </a:lnTo>
                <a:lnTo>
                  <a:pt x="3002" y="1655"/>
                </a:lnTo>
                <a:lnTo>
                  <a:pt x="3093" y="1615"/>
                </a:lnTo>
                <a:lnTo>
                  <a:pt x="3185" y="1581"/>
                </a:lnTo>
                <a:lnTo>
                  <a:pt x="3278" y="1549"/>
                </a:lnTo>
                <a:lnTo>
                  <a:pt x="3373" y="1520"/>
                </a:lnTo>
                <a:lnTo>
                  <a:pt x="3467" y="1494"/>
                </a:lnTo>
                <a:lnTo>
                  <a:pt x="3561" y="1471"/>
                </a:lnTo>
                <a:lnTo>
                  <a:pt x="3656" y="1451"/>
                </a:lnTo>
                <a:lnTo>
                  <a:pt x="3749" y="1433"/>
                </a:lnTo>
                <a:lnTo>
                  <a:pt x="3844" y="1417"/>
                </a:lnTo>
                <a:lnTo>
                  <a:pt x="3937" y="1404"/>
                </a:lnTo>
                <a:lnTo>
                  <a:pt x="4119" y="1386"/>
                </a:lnTo>
                <a:lnTo>
                  <a:pt x="4209" y="1380"/>
                </a:lnTo>
                <a:lnTo>
                  <a:pt x="4297" y="1375"/>
                </a:lnTo>
                <a:lnTo>
                  <a:pt x="4383" y="1374"/>
                </a:lnTo>
                <a:lnTo>
                  <a:pt x="4468" y="1372"/>
                </a:lnTo>
                <a:lnTo>
                  <a:pt x="4550" y="1375"/>
                </a:lnTo>
                <a:lnTo>
                  <a:pt x="4631" y="1377"/>
                </a:lnTo>
                <a:lnTo>
                  <a:pt x="4714" y="1382"/>
                </a:lnTo>
                <a:lnTo>
                  <a:pt x="4787" y="1388"/>
                </a:lnTo>
                <a:lnTo>
                  <a:pt x="4855" y="1396"/>
                </a:lnTo>
                <a:lnTo>
                  <a:pt x="4934" y="1404"/>
                </a:lnTo>
                <a:lnTo>
                  <a:pt x="5070" y="1426"/>
                </a:lnTo>
                <a:lnTo>
                  <a:pt x="5204" y="1451"/>
                </a:lnTo>
                <a:lnTo>
                  <a:pt x="5326" y="1479"/>
                </a:lnTo>
                <a:lnTo>
                  <a:pt x="5438" y="1510"/>
                </a:lnTo>
                <a:lnTo>
                  <a:pt x="5541" y="1543"/>
                </a:lnTo>
                <a:lnTo>
                  <a:pt x="5638" y="1578"/>
                </a:lnTo>
                <a:lnTo>
                  <a:pt x="5725" y="1614"/>
                </a:lnTo>
                <a:lnTo>
                  <a:pt x="5805" y="1651"/>
                </a:lnTo>
                <a:lnTo>
                  <a:pt x="5877" y="1689"/>
                </a:lnTo>
                <a:lnTo>
                  <a:pt x="5943" y="1726"/>
                </a:lnTo>
                <a:lnTo>
                  <a:pt x="6002" y="1764"/>
                </a:lnTo>
                <a:lnTo>
                  <a:pt x="6056" y="1800"/>
                </a:lnTo>
                <a:lnTo>
                  <a:pt x="6104" y="1837"/>
                </a:lnTo>
                <a:lnTo>
                  <a:pt x="6147" y="1873"/>
                </a:lnTo>
                <a:lnTo>
                  <a:pt x="6217" y="1939"/>
                </a:lnTo>
                <a:lnTo>
                  <a:pt x="6246" y="1970"/>
                </a:lnTo>
                <a:lnTo>
                  <a:pt x="6272" y="1999"/>
                </a:lnTo>
                <a:lnTo>
                  <a:pt x="6315" y="2054"/>
                </a:lnTo>
                <a:lnTo>
                  <a:pt x="6348" y="2105"/>
                </a:lnTo>
                <a:lnTo>
                  <a:pt x="6360" y="2127"/>
                </a:lnTo>
                <a:lnTo>
                  <a:pt x="6371" y="2148"/>
                </a:lnTo>
                <a:lnTo>
                  <a:pt x="6387" y="2186"/>
                </a:lnTo>
                <a:lnTo>
                  <a:pt x="6409" y="2243"/>
                </a:lnTo>
                <a:lnTo>
                  <a:pt x="6427" y="2281"/>
                </a:lnTo>
                <a:lnTo>
                  <a:pt x="6440" y="2300"/>
                </a:lnTo>
                <a:lnTo>
                  <a:pt x="6445" y="2302"/>
                </a:lnTo>
                <a:lnTo>
                  <a:pt x="6450" y="2302"/>
                </a:lnTo>
                <a:lnTo>
                  <a:pt x="6461" y="2294"/>
                </a:lnTo>
                <a:lnTo>
                  <a:pt x="6466" y="2284"/>
                </a:lnTo>
                <a:lnTo>
                  <a:pt x="6470" y="2273"/>
                </a:lnTo>
                <a:lnTo>
                  <a:pt x="6474" y="2244"/>
                </a:lnTo>
                <a:lnTo>
                  <a:pt x="6476" y="2210"/>
                </a:lnTo>
                <a:lnTo>
                  <a:pt x="6474" y="2172"/>
                </a:lnTo>
                <a:lnTo>
                  <a:pt x="6470" y="2130"/>
                </a:lnTo>
                <a:lnTo>
                  <a:pt x="6461" y="2087"/>
                </a:lnTo>
                <a:lnTo>
                  <a:pt x="6449" y="2046"/>
                </a:lnTo>
                <a:lnTo>
                  <a:pt x="6433" y="2005"/>
                </a:lnTo>
                <a:lnTo>
                  <a:pt x="6400" y="1938"/>
                </a:lnTo>
                <a:lnTo>
                  <a:pt x="6376" y="1894"/>
                </a:lnTo>
                <a:lnTo>
                  <a:pt x="6369" y="1881"/>
                </a:lnTo>
                <a:lnTo>
                  <a:pt x="6366" y="1875"/>
                </a:lnTo>
                <a:lnTo>
                  <a:pt x="6369" y="1874"/>
                </a:lnTo>
                <a:lnTo>
                  <a:pt x="6376" y="1879"/>
                </a:lnTo>
                <a:lnTo>
                  <a:pt x="6396" y="1896"/>
                </a:lnTo>
                <a:lnTo>
                  <a:pt x="6419" y="1919"/>
                </a:lnTo>
                <a:lnTo>
                  <a:pt x="6446" y="1950"/>
                </a:lnTo>
                <a:lnTo>
                  <a:pt x="6474" y="1987"/>
                </a:lnTo>
                <a:lnTo>
                  <a:pt x="6501" y="2030"/>
                </a:lnTo>
                <a:lnTo>
                  <a:pt x="6528" y="2079"/>
                </a:lnTo>
                <a:lnTo>
                  <a:pt x="6541" y="2106"/>
                </a:lnTo>
                <a:lnTo>
                  <a:pt x="6552" y="2134"/>
                </a:lnTo>
                <a:lnTo>
                  <a:pt x="6573" y="2197"/>
                </a:lnTo>
                <a:lnTo>
                  <a:pt x="6584" y="2264"/>
                </a:lnTo>
                <a:lnTo>
                  <a:pt x="6585" y="2300"/>
                </a:lnTo>
                <a:lnTo>
                  <a:pt x="6585" y="2334"/>
                </a:lnTo>
                <a:lnTo>
                  <a:pt x="6584" y="2368"/>
                </a:lnTo>
                <a:lnTo>
                  <a:pt x="6579" y="2403"/>
                </a:lnTo>
                <a:lnTo>
                  <a:pt x="6573" y="2437"/>
                </a:lnTo>
                <a:lnTo>
                  <a:pt x="6564" y="2471"/>
                </a:lnTo>
                <a:lnTo>
                  <a:pt x="6554" y="2506"/>
                </a:lnTo>
                <a:lnTo>
                  <a:pt x="6542" y="2540"/>
                </a:lnTo>
                <a:lnTo>
                  <a:pt x="6528" y="2573"/>
                </a:lnTo>
                <a:lnTo>
                  <a:pt x="6512" y="2605"/>
                </a:lnTo>
                <a:lnTo>
                  <a:pt x="6496" y="2637"/>
                </a:lnTo>
                <a:lnTo>
                  <a:pt x="6478" y="2668"/>
                </a:lnTo>
                <a:lnTo>
                  <a:pt x="6457" y="2697"/>
                </a:lnTo>
                <a:lnTo>
                  <a:pt x="6436" y="2726"/>
                </a:lnTo>
                <a:lnTo>
                  <a:pt x="6359" y="2816"/>
                </a:lnTo>
                <a:lnTo>
                  <a:pt x="6332" y="2848"/>
                </a:lnTo>
                <a:lnTo>
                  <a:pt x="6324" y="2860"/>
                </a:lnTo>
                <a:lnTo>
                  <a:pt x="6319" y="2870"/>
                </a:lnTo>
                <a:lnTo>
                  <a:pt x="6319" y="2874"/>
                </a:lnTo>
                <a:lnTo>
                  <a:pt x="6320" y="2876"/>
                </a:lnTo>
                <a:lnTo>
                  <a:pt x="6325" y="2879"/>
                </a:lnTo>
                <a:lnTo>
                  <a:pt x="6337" y="2879"/>
                </a:lnTo>
                <a:lnTo>
                  <a:pt x="6353" y="2874"/>
                </a:lnTo>
                <a:lnTo>
                  <a:pt x="6376" y="2865"/>
                </a:lnTo>
                <a:lnTo>
                  <a:pt x="6404" y="2852"/>
                </a:lnTo>
                <a:lnTo>
                  <a:pt x="6440" y="2832"/>
                </a:lnTo>
                <a:lnTo>
                  <a:pt x="6482" y="2806"/>
                </a:lnTo>
                <a:lnTo>
                  <a:pt x="6530" y="2773"/>
                </a:lnTo>
                <a:lnTo>
                  <a:pt x="6582" y="2731"/>
                </a:lnTo>
                <a:lnTo>
                  <a:pt x="6609" y="2706"/>
                </a:lnTo>
                <a:lnTo>
                  <a:pt x="6636" y="2677"/>
                </a:lnTo>
                <a:lnTo>
                  <a:pt x="6665" y="2645"/>
                </a:lnTo>
                <a:lnTo>
                  <a:pt x="6692" y="2610"/>
                </a:lnTo>
                <a:lnTo>
                  <a:pt x="6717" y="2574"/>
                </a:lnTo>
                <a:lnTo>
                  <a:pt x="6742" y="2535"/>
                </a:lnTo>
                <a:lnTo>
                  <a:pt x="6765" y="2492"/>
                </a:lnTo>
                <a:lnTo>
                  <a:pt x="6786" y="2444"/>
                </a:lnTo>
                <a:lnTo>
                  <a:pt x="6802" y="2392"/>
                </a:lnTo>
                <a:lnTo>
                  <a:pt x="6808" y="2365"/>
                </a:lnTo>
                <a:lnTo>
                  <a:pt x="6813" y="2335"/>
                </a:lnTo>
                <a:lnTo>
                  <a:pt x="6819" y="2274"/>
                </a:lnTo>
                <a:lnTo>
                  <a:pt x="6819" y="2242"/>
                </a:lnTo>
                <a:lnTo>
                  <a:pt x="6818" y="2209"/>
                </a:lnTo>
                <a:lnTo>
                  <a:pt x="6810" y="2143"/>
                </a:lnTo>
                <a:lnTo>
                  <a:pt x="6796" y="2073"/>
                </a:lnTo>
                <a:lnTo>
                  <a:pt x="6783" y="2036"/>
                </a:lnTo>
                <a:lnTo>
                  <a:pt x="6768" y="1999"/>
                </a:lnTo>
                <a:lnTo>
                  <a:pt x="6748" y="1959"/>
                </a:lnTo>
                <a:lnTo>
                  <a:pt x="6723" y="1917"/>
                </a:lnTo>
                <a:lnTo>
                  <a:pt x="6700" y="1879"/>
                </a:lnTo>
                <a:lnTo>
                  <a:pt x="6673" y="1838"/>
                </a:lnTo>
                <a:lnTo>
                  <a:pt x="6641" y="1798"/>
                </a:lnTo>
                <a:lnTo>
                  <a:pt x="6607" y="1758"/>
                </a:lnTo>
                <a:lnTo>
                  <a:pt x="6566" y="1716"/>
                </a:lnTo>
                <a:lnTo>
                  <a:pt x="6521" y="1673"/>
                </a:lnTo>
                <a:lnTo>
                  <a:pt x="6496" y="1651"/>
                </a:lnTo>
                <a:lnTo>
                  <a:pt x="6470" y="1629"/>
                </a:lnTo>
                <a:lnTo>
                  <a:pt x="6413" y="1585"/>
                </a:lnTo>
                <a:lnTo>
                  <a:pt x="6353" y="1542"/>
                </a:lnTo>
                <a:lnTo>
                  <a:pt x="6288" y="1500"/>
                </a:lnTo>
                <a:lnTo>
                  <a:pt x="6218" y="1458"/>
                </a:lnTo>
                <a:lnTo>
                  <a:pt x="6143" y="1417"/>
                </a:lnTo>
                <a:lnTo>
                  <a:pt x="6064" y="1376"/>
                </a:lnTo>
                <a:lnTo>
                  <a:pt x="5978" y="1337"/>
                </a:lnTo>
                <a:lnTo>
                  <a:pt x="5888" y="1299"/>
                </a:lnTo>
                <a:lnTo>
                  <a:pt x="5792" y="1263"/>
                </a:lnTo>
                <a:lnTo>
                  <a:pt x="5691" y="1229"/>
                </a:lnTo>
                <a:lnTo>
                  <a:pt x="5584" y="1196"/>
                </a:lnTo>
                <a:lnTo>
                  <a:pt x="5470" y="1166"/>
                </a:lnTo>
                <a:lnTo>
                  <a:pt x="5351" y="1139"/>
                </a:lnTo>
                <a:lnTo>
                  <a:pt x="5226" y="1114"/>
                </a:lnTo>
                <a:lnTo>
                  <a:pt x="5095" y="1093"/>
                </a:lnTo>
                <a:lnTo>
                  <a:pt x="5027" y="1083"/>
                </a:lnTo>
                <a:lnTo>
                  <a:pt x="4957" y="1073"/>
                </a:lnTo>
                <a:lnTo>
                  <a:pt x="4886" y="1066"/>
                </a:lnTo>
                <a:lnTo>
                  <a:pt x="4812" y="1058"/>
                </a:lnTo>
                <a:lnTo>
                  <a:pt x="4978" y="1074"/>
                </a:lnTo>
                <a:lnTo>
                  <a:pt x="5058" y="1084"/>
                </a:lnTo>
                <a:lnTo>
                  <a:pt x="5136" y="1094"/>
                </a:lnTo>
                <a:lnTo>
                  <a:pt x="5287" y="1119"/>
                </a:lnTo>
                <a:lnTo>
                  <a:pt x="5360" y="1133"/>
                </a:lnTo>
                <a:lnTo>
                  <a:pt x="5431" y="1148"/>
                </a:lnTo>
                <a:lnTo>
                  <a:pt x="5501" y="1164"/>
                </a:lnTo>
                <a:lnTo>
                  <a:pt x="5568" y="1181"/>
                </a:lnTo>
                <a:lnTo>
                  <a:pt x="5634" y="1198"/>
                </a:lnTo>
                <a:lnTo>
                  <a:pt x="5698" y="1217"/>
                </a:lnTo>
                <a:lnTo>
                  <a:pt x="5821" y="1256"/>
                </a:lnTo>
                <a:lnTo>
                  <a:pt x="5937" y="1299"/>
                </a:lnTo>
                <a:lnTo>
                  <a:pt x="6046" y="1344"/>
                </a:lnTo>
                <a:lnTo>
                  <a:pt x="6099" y="1368"/>
                </a:lnTo>
                <a:lnTo>
                  <a:pt x="6149" y="1391"/>
                </a:lnTo>
                <a:lnTo>
                  <a:pt x="6245" y="1441"/>
                </a:lnTo>
                <a:lnTo>
                  <a:pt x="6335" y="1491"/>
                </a:lnTo>
                <a:lnTo>
                  <a:pt x="6418" y="1544"/>
                </a:lnTo>
                <a:lnTo>
                  <a:pt x="6457" y="1571"/>
                </a:lnTo>
                <a:lnTo>
                  <a:pt x="6494" y="1598"/>
                </a:lnTo>
                <a:lnTo>
                  <a:pt x="6564" y="1653"/>
                </a:lnTo>
                <a:lnTo>
                  <a:pt x="6628" y="1707"/>
                </a:lnTo>
                <a:lnTo>
                  <a:pt x="6683" y="1764"/>
                </a:lnTo>
                <a:lnTo>
                  <a:pt x="6733" y="1819"/>
                </a:lnTo>
                <a:lnTo>
                  <a:pt x="6776" y="1873"/>
                </a:lnTo>
                <a:lnTo>
                  <a:pt x="6813" y="1928"/>
                </a:lnTo>
                <a:lnTo>
                  <a:pt x="6846" y="1982"/>
                </a:lnTo>
                <a:lnTo>
                  <a:pt x="6872" y="2036"/>
                </a:lnTo>
                <a:lnTo>
                  <a:pt x="6894" y="2089"/>
                </a:lnTo>
                <a:lnTo>
                  <a:pt x="6910" y="2141"/>
                </a:lnTo>
                <a:lnTo>
                  <a:pt x="6922" y="2193"/>
                </a:lnTo>
                <a:lnTo>
                  <a:pt x="6931" y="2244"/>
                </a:lnTo>
                <a:lnTo>
                  <a:pt x="6933" y="2295"/>
                </a:lnTo>
                <a:lnTo>
                  <a:pt x="6933" y="2344"/>
                </a:lnTo>
                <a:lnTo>
                  <a:pt x="6928" y="2392"/>
                </a:lnTo>
                <a:lnTo>
                  <a:pt x="6921" y="2438"/>
                </a:lnTo>
                <a:lnTo>
                  <a:pt x="6910" y="2482"/>
                </a:lnTo>
                <a:lnTo>
                  <a:pt x="6895" y="2527"/>
                </a:lnTo>
                <a:lnTo>
                  <a:pt x="6878" y="2571"/>
                </a:lnTo>
                <a:lnTo>
                  <a:pt x="6858" y="2612"/>
                </a:lnTo>
                <a:lnTo>
                  <a:pt x="6837" y="2653"/>
                </a:lnTo>
                <a:lnTo>
                  <a:pt x="6813" y="2691"/>
                </a:lnTo>
                <a:lnTo>
                  <a:pt x="6788" y="2728"/>
                </a:lnTo>
                <a:lnTo>
                  <a:pt x="6760" y="2763"/>
                </a:lnTo>
                <a:lnTo>
                  <a:pt x="6732" y="2798"/>
                </a:lnTo>
                <a:lnTo>
                  <a:pt x="6701" y="2831"/>
                </a:lnTo>
                <a:lnTo>
                  <a:pt x="6669" y="2861"/>
                </a:lnTo>
                <a:lnTo>
                  <a:pt x="6638" y="2892"/>
                </a:lnTo>
                <a:lnTo>
                  <a:pt x="6603" y="2920"/>
                </a:lnTo>
                <a:lnTo>
                  <a:pt x="6568" y="2947"/>
                </a:lnTo>
                <a:lnTo>
                  <a:pt x="6495" y="2997"/>
                </a:lnTo>
                <a:lnTo>
                  <a:pt x="6420" y="3044"/>
                </a:lnTo>
                <a:lnTo>
                  <a:pt x="6344" y="3087"/>
                </a:lnTo>
                <a:lnTo>
                  <a:pt x="6270" y="3125"/>
                </a:lnTo>
                <a:lnTo>
                  <a:pt x="6196" y="3158"/>
                </a:lnTo>
                <a:lnTo>
                  <a:pt x="6125" y="3188"/>
                </a:lnTo>
                <a:lnTo>
                  <a:pt x="6054" y="3213"/>
                </a:lnTo>
                <a:lnTo>
                  <a:pt x="5984" y="3237"/>
                </a:lnTo>
                <a:lnTo>
                  <a:pt x="5846" y="3276"/>
                </a:lnTo>
                <a:lnTo>
                  <a:pt x="5723" y="3305"/>
                </a:lnTo>
                <a:lnTo>
                  <a:pt x="5610" y="3327"/>
                </a:lnTo>
                <a:lnTo>
                  <a:pt x="5509" y="3345"/>
                </a:lnTo>
                <a:lnTo>
                  <a:pt x="5418" y="3357"/>
                </a:lnTo>
                <a:lnTo>
                  <a:pt x="5340" y="3365"/>
                </a:lnTo>
                <a:lnTo>
                  <a:pt x="5271" y="3372"/>
                </a:lnTo>
                <a:lnTo>
                  <a:pt x="5168" y="3376"/>
                </a:lnTo>
                <a:lnTo>
                  <a:pt x="5098" y="3383"/>
                </a:lnTo>
                <a:lnTo>
                  <a:pt x="5065" y="3389"/>
                </a:lnTo>
                <a:lnTo>
                  <a:pt x="5060" y="3391"/>
                </a:lnTo>
                <a:lnTo>
                  <a:pt x="5061" y="3394"/>
                </a:lnTo>
                <a:lnTo>
                  <a:pt x="5077" y="3400"/>
                </a:lnTo>
                <a:lnTo>
                  <a:pt x="5117" y="3406"/>
                </a:lnTo>
                <a:lnTo>
                  <a:pt x="5168" y="3412"/>
                </a:lnTo>
                <a:lnTo>
                  <a:pt x="5229" y="3416"/>
                </a:lnTo>
                <a:lnTo>
                  <a:pt x="5299" y="3418"/>
                </a:lnTo>
                <a:lnTo>
                  <a:pt x="5454" y="3419"/>
                </a:lnTo>
                <a:lnTo>
                  <a:pt x="5534" y="3417"/>
                </a:lnTo>
                <a:lnTo>
                  <a:pt x="5613" y="3412"/>
                </a:lnTo>
                <a:lnTo>
                  <a:pt x="5686" y="3405"/>
                </a:lnTo>
                <a:lnTo>
                  <a:pt x="5751" y="3399"/>
                </a:lnTo>
                <a:lnTo>
                  <a:pt x="5851" y="3385"/>
                </a:lnTo>
                <a:lnTo>
                  <a:pt x="5910" y="3378"/>
                </a:lnTo>
                <a:lnTo>
                  <a:pt x="5921" y="3378"/>
                </a:lnTo>
                <a:lnTo>
                  <a:pt x="5922" y="3378"/>
                </a:lnTo>
                <a:lnTo>
                  <a:pt x="5920" y="3380"/>
                </a:lnTo>
                <a:lnTo>
                  <a:pt x="5875" y="3395"/>
                </a:lnTo>
                <a:lnTo>
                  <a:pt x="5779" y="3418"/>
                </a:lnTo>
                <a:lnTo>
                  <a:pt x="5713" y="3430"/>
                </a:lnTo>
                <a:lnTo>
                  <a:pt x="5632" y="3443"/>
                </a:lnTo>
                <a:lnTo>
                  <a:pt x="5539" y="3454"/>
                </a:lnTo>
                <a:lnTo>
                  <a:pt x="5431" y="3464"/>
                </a:lnTo>
                <a:lnTo>
                  <a:pt x="5315" y="3471"/>
                </a:lnTo>
                <a:lnTo>
                  <a:pt x="5194" y="3473"/>
                </a:lnTo>
                <a:lnTo>
                  <a:pt x="5133" y="3472"/>
                </a:lnTo>
                <a:lnTo>
                  <a:pt x="5070" y="3471"/>
                </a:lnTo>
                <a:lnTo>
                  <a:pt x="4945" y="3465"/>
                </a:lnTo>
                <a:lnTo>
                  <a:pt x="4821" y="3456"/>
                </a:lnTo>
                <a:lnTo>
                  <a:pt x="4700" y="3443"/>
                </a:lnTo>
                <a:lnTo>
                  <a:pt x="4584" y="3427"/>
                </a:lnTo>
                <a:lnTo>
                  <a:pt x="4475" y="3407"/>
                </a:lnTo>
                <a:lnTo>
                  <a:pt x="4299" y="3369"/>
                </a:lnTo>
                <a:lnTo>
                  <a:pt x="4236" y="3354"/>
                </a:lnTo>
                <a:lnTo>
                  <a:pt x="4196" y="3349"/>
                </a:lnTo>
                <a:lnTo>
                  <a:pt x="4181" y="3349"/>
                </a:lnTo>
                <a:lnTo>
                  <a:pt x="4177" y="3351"/>
                </a:lnTo>
                <a:lnTo>
                  <a:pt x="4173" y="3352"/>
                </a:lnTo>
                <a:lnTo>
                  <a:pt x="4173" y="3354"/>
                </a:lnTo>
                <a:lnTo>
                  <a:pt x="4175" y="3358"/>
                </a:lnTo>
                <a:lnTo>
                  <a:pt x="4184" y="3368"/>
                </a:lnTo>
                <a:lnTo>
                  <a:pt x="4204" y="3380"/>
                </a:lnTo>
                <a:lnTo>
                  <a:pt x="4235" y="3396"/>
                </a:lnTo>
                <a:lnTo>
                  <a:pt x="4329" y="3438"/>
                </a:lnTo>
                <a:lnTo>
                  <a:pt x="4402" y="3464"/>
                </a:lnTo>
                <a:lnTo>
                  <a:pt x="4492" y="3491"/>
                </a:lnTo>
                <a:lnTo>
                  <a:pt x="4602" y="3519"/>
                </a:lnTo>
                <a:lnTo>
                  <a:pt x="4730" y="3546"/>
                </a:lnTo>
                <a:lnTo>
                  <a:pt x="4806" y="3557"/>
                </a:lnTo>
                <a:lnTo>
                  <a:pt x="4887" y="3568"/>
                </a:lnTo>
                <a:lnTo>
                  <a:pt x="4974" y="3576"/>
                </a:lnTo>
                <a:lnTo>
                  <a:pt x="5068" y="3584"/>
                </a:lnTo>
                <a:lnTo>
                  <a:pt x="5167" y="3589"/>
                </a:lnTo>
                <a:lnTo>
                  <a:pt x="5272" y="3592"/>
                </a:lnTo>
                <a:lnTo>
                  <a:pt x="5383" y="3592"/>
                </a:lnTo>
                <a:lnTo>
                  <a:pt x="5501" y="3589"/>
                </a:lnTo>
                <a:lnTo>
                  <a:pt x="5561" y="3585"/>
                </a:lnTo>
                <a:lnTo>
                  <a:pt x="5627" y="3580"/>
                </a:lnTo>
                <a:lnTo>
                  <a:pt x="5680" y="3576"/>
                </a:lnTo>
                <a:lnTo>
                  <a:pt x="5757" y="3567"/>
                </a:lnTo>
                <a:lnTo>
                  <a:pt x="5893" y="3547"/>
                </a:lnTo>
                <a:lnTo>
                  <a:pt x="5958" y="3536"/>
                </a:lnTo>
                <a:lnTo>
                  <a:pt x="5995" y="3530"/>
                </a:lnTo>
                <a:lnTo>
                  <a:pt x="6033" y="3521"/>
                </a:lnTo>
                <a:lnTo>
                  <a:pt x="6178" y="3488"/>
                </a:lnTo>
                <a:lnTo>
                  <a:pt x="6249" y="3470"/>
                </a:lnTo>
                <a:lnTo>
                  <a:pt x="6325" y="3448"/>
                </a:lnTo>
                <a:lnTo>
                  <a:pt x="6401" y="3423"/>
                </a:lnTo>
                <a:lnTo>
                  <a:pt x="6476" y="3397"/>
                </a:lnTo>
                <a:lnTo>
                  <a:pt x="6548" y="3370"/>
                </a:lnTo>
                <a:lnTo>
                  <a:pt x="6620" y="3341"/>
                </a:lnTo>
                <a:lnTo>
                  <a:pt x="6695" y="3307"/>
                </a:lnTo>
                <a:lnTo>
                  <a:pt x="6769" y="3271"/>
                </a:lnTo>
                <a:lnTo>
                  <a:pt x="6907" y="3196"/>
                </a:lnTo>
                <a:lnTo>
                  <a:pt x="6976" y="3153"/>
                </a:lnTo>
                <a:lnTo>
                  <a:pt x="7009" y="3130"/>
                </a:lnTo>
                <a:lnTo>
                  <a:pt x="7044" y="3105"/>
                </a:lnTo>
                <a:lnTo>
                  <a:pt x="7107" y="3058"/>
                </a:lnTo>
                <a:lnTo>
                  <a:pt x="7166" y="3011"/>
                </a:lnTo>
                <a:lnTo>
                  <a:pt x="7227" y="2955"/>
                </a:lnTo>
                <a:lnTo>
                  <a:pt x="7281" y="2901"/>
                </a:lnTo>
                <a:lnTo>
                  <a:pt x="7332" y="2844"/>
                </a:lnTo>
                <a:lnTo>
                  <a:pt x="7355" y="2815"/>
                </a:lnTo>
                <a:lnTo>
                  <a:pt x="7378" y="2783"/>
                </a:lnTo>
                <a:lnTo>
                  <a:pt x="7458" y="2653"/>
                </a:lnTo>
                <a:lnTo>
                  <a:pt x="7473" y="2625"/>
                </a:lnTo>
                <a:lnTo>
                  <a:pt x="7488" y="2592"/>
                </a:lnTo>
                <a:lnTo>
                  <a:pt x="7502" y="2555"/>
                </a:lnTo>
                <a:lnTo>
                  <a:pt x="7516" y="2513"/>
                </a:lnTo>
                <a:lnTo>
                  <a:pt x="7502" y="2556"/>
                </a:lnTo>
                <a:lnTo>
                  <a:pt x="7489" y="2593"/>
                </a:lnTo>
                <a:lnTo>
                  <a:pt x="7454" y="2670"/>
                </a:lnTo>
                <a:lnTo>
                  <a:pt x="7414" y="2737"/>
                </a:lnTo>
                <a:lnTo>
                  <a:pt x="7365" y="2817"/>
                </a:lnTo>
                <a:lnTo>
                  <a:pt x="7338" y="2854"/>
                </a:lnTo>
                <a:lnTo>
                  <a:pt x="7311" y="2888"/>
                </a:lnTo>
                <a:lnTo>
                  <a:pt x="7252" y="2952"/>
                </a:lnTo>
                <a:lnTo>
                  <a:pt x="7188" y="3013"/>
                </a:lnTo>
                <a:lnTo>
                  <a:pt x="7115" y="3077"/>
                </a:lnTo>
                <a:lnTo>
                  <a:pt x="7040" y="3134"/>
                </a:lnTo>
                <a:lnTo>
                  <a:pt x="6961" y="3186"/>
                </a:lnTo>
                <a:lnTo>
                  <a:pt x="6880" y="3237"/>
                </a:lnTo>
                <a:lnTo>
                  <a:pt x="6796" y="3284"/>
                </a:lnTo>
                <a:lnTo>
                  <a:pt x="6710" y="3329"/>
                </a:lnTo>
                <a:lnTo>
                  <a:pt x="6622" y="3370"/>
                </a:lnTo>
                <a:lnTo>
                  <a:pt x="6531" y="3408"/>
                </a:lnTo>
                <a:lnTo>
                  <a:pt x="6439" y="3444"/>
                </a:lnTo>
                <a:lnTo>
                  <a:pt x="6346" y="3476"/>
                </a:lnTo>
                <a:lnTo>
                  <a:pt x="6251" y="3504"/>
                </a:lnTo>
                <a:lnTo>
                  <a:pt x="6157" y="3530"/>
                </a:lnTo>
                <a:lnTo>
                  <a:pt x="6062" y="3553"/>
                </a:lnTo>
                <a:lnTo>
                  <a:pt x="5968" y="3574"/>
                </a:lnTo>
                <a:lnTo>
                  <a:pt x="5875" y="3592"/>
                </a:lnTo>
                <a:lnTo>
                  <a:pt x="5780" y="3607"/>
                </a:lnTo>
                <a:lnTo>
                  <a:pt x="5687" y="3621"/>
                </a:lnTo>
                <a:lnTo>
                  <a:pt x="5504" y="3639"/>
                </a:lnTo>
                <a:lnTo>
                  <a:pt x="5415" y="3645"/>
                </a:lnTo>
                <a:lnTo>
                  <a:pt x="5326" y="3649"/>
                </a:lnTo>
                <a:lnTo>
                  <a:pt x="5241" y="3651"/>
                </a:lnTo>
                <a:lnTo>
                  <a:pt x="5156" y="3651"/>
                </a:lnTo>
                <a:lnTo>
                  <a:pt x="5074" y="3650"/>
                </a:lnTo>
                <a:lnTo>
                  <a:pt x="4993" y="3646"/>
                </a:lnTo>
                <a:lnTo>
                  <a:pt x="4911" y="3641"/>
                </a:lnTo>
                <a:lnTo>
                  <a:pt x="4837" y="3635"/>
                </a:lnTo>
                <a:lnTo>
                  <a:pt x="4690" y="3619"/>
                </a:lnTo>
                <a:lnTo>
                  <a:pt x="4554" y="3598"/>
                </a:lnTo>
                <a:lnTo>
                  <a:pt x="4420" y="3574"/>
                </a:lnTo>
                <a:lnTo>
                  <a:pt x="4297" y="3544"/>
                </a:lnTo>
                <a:lnTo>
                  <a:pt x="4186" y="3514"/>
                </a:lnTo>
                <a:lnTo>
                  <a:pt x="4083" y="3481"/>
                </a:lnTo>
                <a:lnTo>
                  <a:pt x="3986" y="3446"/>
                </a:lnTo>
                <a:lnTo>
                  <a:pt x="3899" y="3410"/>
                </a:lnTo>
                <a:lnTo>
                  <a:pt x="3819" y="3373"/>
                </a:lnTo>
                <a:lnTo>
                  <a:pt x="3747" y="3336"/>
                </a:lnTo>
                <a:lnTo>
                  <a:pt x="3680" y="3298"/>
                </a:lnTo>
                <a:lnTo>
                  <a:pt x="3622" y="3261"/>
                </a:lnTo>
                <a:lnTo>
                  <a:pt x="3568" y="3224"/>
                </a:lnTo>
                <a:lnTo>
                  <a:pt x="3520" y="3188"/>
                </a:lnTo>
                <a:lnTo>
                  <a:pt x="3477" y="3152"/>
                </a:lnTo>
                <a:lnTo>
                  <a:pt x="3407" y="3086"/>
                </a:lnTo>
                <a:lnTo>
                  <a:pt x="3377" y="3054"/>
                </a:lnTo>
                <a:lnTo>
                  <a:pt x="3352" y="3024"/>
                </a:lnTo>
                <a:lnTo>
                  <a:pt x="3309" y="2969"/>
                </a:lnTo>
                <a:lnTo>
                  <a:pt x="3276" y="2920"/>
                </a:lnTo>
                <a:lnTo>
                  <a:pt x="3252" y="2876"/>
                </a:lnTo>
                <a:lnTo>
                  <a:pt x="3236" y="2839"/>
                </a:lnTo>
                <a:lnTo>
                  <a:pt x="3214" y="2782"/>
                </a:lnTo>
                <a:lnTo>
                  <a:pt x="3197" y="2742"/>
                </a:lnTo>
                <a:lnTo>
                  <a:pt x="3184" y="2725"/>
                </a:lnTo>
                <a:lnTo>
                  <a:pt x="3179" y="2723"/>
                </a:lnTo>
                <a:lnTo>
                  <a:pt x="3174" y="2723"/>
                </a:lnTo>
                <a:lnTo>
                  <a:pt x="3163" y="2731"/>
                </a:lnTo>
                <a:lnTo>
                  <a:pt x="3158" y="2740"/>
                </a:lnTo>
                <a:lnTo>
                  <a:pt x="3154" y="2752"/>
                </a:lnTo>
                <a:lnTo>
                  <a:pt x="3149" y="2780"/>
                </a:lnTo>
                <a:lnTo>
                  <a:pt x="3148" y="2814"/>
                </a:lnTo>
                <a:lnTo>
                  <a:pt x="3149" y="2853"/>
                </a:lnTo>
                <a:lnTo>
                  <a:pt x="3155" y="2894"/>
                </a:lnTo>
                <a:lnTo>
                  <a:pt x="3163" y="2936"/>
                </a:lnTo>
                <a:lnTo>
                  <a:pt x="3175" y="2979"/>
                </a:lnTo>
                <a:lnTo>
                  <a:pt x="3191" y="3018"/>
                </a:lnTo>
                <a:lnTo>
                  <a:pt x="3224" y="3087"/>
                </a:lnTo>
                <a:lnTo>
                  <a:pt x="3249" y="3130"/>
                </a:lnTo>
                <a:lnTo>
                  <a:pt x="3255" y="3143"/>
                </a:lnTo>
                <a:lnTo>
                  <a:pt x="3257" y="3150"/>
                </a:lnTo>
                <a:lnTo>
                  <a:pt x="3255" y="3150"/>
                </a:lnTo>
                <a:lnTo>
                  <a:pt x="3247" y="3145"/>
                </a:lnTo>
                <a:lnTo>
                  <a:pt x="3228" y="3127"/>
                </a:lnTo>
                <a:lnTo>
                  <a:pt x="3205" y="3104"/>
                </a:lnTo>
                <a:lnTo>
                  <a:pt x="3178" y="3075"/>
                </a:lnTo>
                <a:lnTo>
                  <a:pt x="3151" y="3038"/>
                </a:lnTo>
                <a:lnTo>
                  <a:pt x="3122" y="2995"/>
                </a:lnTo>
                <a:lnTo>
                  <a:pt x="3095" y="2946"/>
                </a:lnTo>
                <a:lnTo>
                  <a:pt x="3083" y="2918"/>
                </a:lnTo>
                <a:lnTo>
                  <a:pt x="3072" y="2890"/>
                </a:lnTo>
                <a:lnTo>
                  <a:pt x="3052" y="2827"/>
                </a:lnTo>
                <a:lnTo>
                  <a:pt x="3040" y="2760"/>
                </a:lnTo>
                <a:lnTo>
                  <a:pt x="3039" y="2725"/>
                </a:lnTo>
                <a:lnTo>
                  <a:pt x="3039" y="2691"/>
                </a:lnTo>
                <a:lnTo>
                  <a:pt x="3040" y="2657"/>
                </a:lnTo>
                <a:lnTo>
                  <a:pt x="3045" y="2621"/>
                </a:lnTo>
                <a:lnTo>
                  <a:pt x="3051" y="2587"/>
                </a:lnTo>
                <a:lnTo>
                  <a:pt x="3060" y="2552"/>
                </a:lnTo>
                <a:lnTo>
                  <a:pt x="3070" y="2518"/>
                </a:lnTo>
                <a:lnTo>
                  <a:pt x="3082" y="2485"/>
                </a:lnTo>
                <a:lnTo>
                  <a:pt x="3095" y="2452"/>
                </a:lnTo>
                <a:lnTo>
                  <a:pt x="3111" y="2419"/>
                </a:lnTo>
                <a:lnTo>
                  <a:pt x="3127" y="2388"/>
                </a:lnTo>
                <a:lnTo>
                  <a:pt x="3147" y="2356"/>
                </a:lnTo>
                <a:lnTo>
                  <a:pt x="3166" y="2327"/>
                </a:lnTo>
                <a:lnTo>
                  <a:pt x="3187" y="2298"/>
                </a:lnTo>
                <a:lnTo>
                  <a:pt x="3266" y="2206"/>
                </a:lnTo>
                <a:lnTo>
                  <a:pt x="3281" y="2189"/>
                </a:lnTo>
                <a:lnTo>
                  <a:pt x="3293" y="2175"/>
                </a:lnTo>
                <a:lnTo>
                  <a:pt x="3301" y="2162"/>
                </a:lnTo>
                <a:lnTo>
                  <a:pt x="3305" y="2155"/>
                </a:lnTo>
                <a:lnTo>
                  <a:pt x="3305" y="2146"/>
                </a:lnTo>
                <a:lnTo>
                  <a:pt x="3300" y="2143"/>
                </a:lnTo>
                <a:lnTo>
                  <a:pt x="3290" y="2143"/>
                </a:lnTo>
                <a:lnTo>
                  <a:pt x="3273" y="2146"/>
                </a:lnTo>
                <a:lnTo>
                  <a:pt x="3220" y="2171"/>
                </a:lnTo>
                <a:lnTo>
                  <a:pt x="3142" y="2219"/>
                </a:lnTo>
                <a:lnTo>
                  <a:pt x="3120" y="2232"/>
                </a:lnTo>
                <a:lnTo>
                  <a:pt x="3095" y="2251"/>
                </a:lnTo>
                <a:lnTo>
                  <a:pt x="3070" y="2271"/>
                </a:lnTo>
                <a:lnTo>
                  <a:pt x="3043" y="2295"/>
                </a:lnTo>
                <a:lnTo>
                  <a:pt x="2987" y="2350"/>
                </a:lnTo>
                <a:lnTo>
                  <a:pt x="2959" y="2382"/>
                </a:lnTo>
                <a:lnTo>
                  <a:pt x="2932" y="2414"/>
                </a:lnTo>
                <a:lnTo>
                  <a:pt x="2882" y="2492"/>
                </a:lnTo>
                <a:lnTo>
                  <a:pt x="2859" y="2535"/>
                </a:lnTo>
                <a:lnTo>
                  <a:pt x="2838" y="2583"/>
                </a:lnTo>
                <a:lnTo>
                  <a:pt x="2822" y="2634"/>
                </a:lnTo>
                <a:lnTo>
                  <a:pt x="2816" y="2661"/>
                </a:lnTo>
                <a:lnTo>
                  <a:pt x="2811" y="2690"/>
                </a:lnTo>
                <a:lnTo>
                  <a:pt x="2805" y="2750"/>
                </a:lnTo>
                <a:lnTo>
                  <a:pt x="2805" y="2782"/>
                </a:lnTo>
                <a:lnTo>
                  <a:pt x="2806" y="2815"/>
                </a:lnTo>
                <a:lnTo>
                  <a:pt x="2813" y="2883"/>
                </a:lnTo>
                <a:lnTo>
                  <a:pt x="2821" y="2918"/>
                </a:lnTo>
                <a:lnTo>
                  <a:pt x="2830" y="2955"/>
                </a:lnTo>
                <a:lnTo>
                  <a:pt x="2844" y="2991"/>
                </a:lnTo>
                <a:lnTo>
                  <a:pt x="2859" y="3029"/>
                </a:lnTo>
                <a:lnTo>
                  <a:pt x="2878" y="3069"/>
                </a:lnTo>
                <a:lnTo>
                  <a:pt x="2900" y="3108"/>
                </a:lnTo>
                <a:lnTo>
                  <a:pt x="2925" y="3147"/>
                </a:lnTo>
                <a:lnTo>
                  <a:pt x="2954" y="3188"/>
                </a:lnTo>
                <a:lnTo>
                  <a:pt x="2986" y="3229"/>
                </a:lnTo>
                <a:lnTo>
                  <a:pt x="3023" y="3270"/>
                </a:lnTo>
                <a:lnTo>
                  <a:pt x="3063" y="3313"/>
                </a:lnTo>
                <a:lnTo>
                  <a:pt x="3109" y="3354"/>
                </a:lnTo>
                <a:lnTo>
                  <a:pt x="3158" y="3397"/>
                </a:lnTo>
                <a:lnTo>
                  <a:pt x="3211" y="3439"/>
                </a:lnTo>
                <a:lnTo>
                  <a:pt x="3272" y="3482"/>
                </a:lnTo>
                <a:lnTo>
                  <a:pt x="3336" y="3525"/>
                </a:lnTo>
                <a:lnTo>
                  <a:pt x="3406" y="3567"/>
                </a:lnTo>
                <a:lnTo>
                  <a:pt x="3480" y="3608"/>
                </a:lnTo>
                <a:lnTo>
                  <a:pt x="3560" y="3648"/>
                </a:lnTo>
                <a:lnTo>
                  <a:pt x="3646" y="3687"/>
                </a:lnTo>
                <a:lnTo>
                  <a:pt x="3736" y="3725"/>
                </a:lnTo>
                <a:lnTo>
                  <a:pt x="3831" y="3762"/>
                </a:lnTo>
                <a:lnTo>
                  <a:pt x="3933" y="3796"/>
                </a:lnTo>
                <a:lnTo>
                  <a:pt x="4041" y="3828"/>
                </a:lnTo>
                <a:lnTo>
                  <a:pt x="4154" y="3858"/>
                </a:lnTo>
                <a:lnTo>
                  <a:pt x="4273" y="3885"/>
                </a:lnTo>
                <a:lnTo>
                  <a:pt x="4398" y="3910"/>
                </a:lnTo>
                <a:lnTo>
                  <a:pt x="4529" y="3932"/>
                </a:lnTo>
                <a:lnTo>
                  <a:pt x="4597" y="3942"/>
                </a:lnTo>
                <a:lnTo>
                  <a:pt x="4667" y="3950"/>
                </a:lnTo>
                <a:lnTo>
                  <a:pt x="4738" y="3959"/>
                </a:lnTo>
                <a:lnTo>
                  <a:pt x="4811" y="3965"/>
                </a:lnTo>
                <a:lnTo>
                  <a:pt x="4646" y="3950"/>
                </a:lnTo>
                <a:lnTo>
                  <a:pt x="4566" y="3941"/>
                </a:lnTo>
                <a:lnTo>
                  <a:pt x="4487" y="3930"/>
                </a:lnTo>
                <a:lnTo>
                  <a:pt x="4337" y="3905"/>
                </a:lnTo>
                <a:lnTo>
                  <a:pt x="4264" y="3892"/>
                </a:lnTo>
                <a:lnTo>
                  <a:pt x="4193" y="3876"/>
                </a:lnTo>
                <a:lnTo>
                  <a:pt x="4123" y="3861"/>
                </a:lnTo>
                <a:lnTo>
                  <a:pt x="4056" y="3844"/>
                </a:lnTo>
                <a:lnTo>
                  <a:pt x="3991" y="3825"/>
                </a:lnTo>
                <a:lnTo>
                  <a:pt x="3926" y="3807"/>
                </a:lnTo>
                <a:lnTo>
                  <a:pt x="3803" y="3768"/>
                </a:lnTo>
                <a:lnTo>
                  <a:pt x="3687" y="3725"/>
                </a:lnTo>
                <a:lnTo>
                  <a:pt x="3577" y="3681"/>
                </a:lnTo>
                <a:lnTo>
                  <a:pt x="3526" y="3657"/>
                </a:lnTo>
                <a:lnTo>
                  <a:pt x="3474" y="3633"/>
                </a:lnTo>
                <a:lnTo>
                  <a:pt x="3379" y="3584"/>
                </a:lnTo>
                <a:lnTo>
                  <a:pt x="3289" y="3532"/>
                </a:lnTo>
                <a:lnTo>
                  <a:pt x="3206" y="3479"/>
                </a:lnTo>
                <a:lnTo>
                  <a:pt x="3168" y="3453"/>
                </a:lnTo>
                <a:lnTo>
                  <a:pt x="3130" y="3426"/>
                </a:lnTo>
                <a:lnTo>
                  <a:pt x="3060" y="3372"/>
                </a:lnTo>
                <a:lnTo>
                  <a:pt x="2996" y="3316"/>
                </a:lnTo>
                <a:lnTo>
                  <a:pt x="2941" y="3261"/>
                </a:lnTo>
                <a:lnTo>
                  <a:pt x="2891" y="3206"/>
                </a:lnTo>
                <a:lnTo>
                  <a:pt x="2848" y="3151"/>
                </a:lnTo>
                <a:lnTo>
                  <a:pt x="2811" y="3097"/>
                </a:lnTo>
                <a:lnTo>
                  <a:pt x="2779" y="3042"/>
                </a:lnTo>
                <a:lnTo>
                  <a:pt x="2752" y="2989"/>
                </a:lnTo>
                <a:lnTo>
                  <a:pt x="2730" y="2935"/>
                </a:lnTo>
                <a:lnTo>
                  <a:pt x="2714" y="2882"/>
                </a:lnTo>
                <a:lnTo>
                  <a:pt x="2702" y="2831"/>
                </a:lnTo>
                <a:lnTo>
                  <a:pt x="2694" y="2780"/>
                </a:lnTo>
                <a:lnTo>
                  <a:pt x="2691" y="2730"/>
                </a:lnTo>
                <a:lnTo>
                  <a:pt x="2691" y="2681"/>
                </a:lnTo>
                <a:lnTo>
                  <a:pt x="2696" y="2633"/>
                </a:lnTo>
                <a:lnTo>
                  <a:pt x="2703" y="2587"/>
                </a:lnTo>
                <a:lnTo>
                  <a:pt x="2714" y="2541"/>
                </a:lnTo>
                <a:lnTo>
                  <a:pt x="2729" y="2497"/>
                </a:lnTo>
                <a:lnTo>
                  <a:pt x="2746" y="2454"/>
                </a:lnTo>
                <a:lnTo>
                  <a:pt x="2765" y="2412"/>
                </a:lnTo>
                <a:lnTo>
                  <a:pt x="2786" y="2372"/>
                </a:lnTo>
                <a:lnTo>
                  <a:pt x="2811" y="2333"/>
                </a:lnTo>
                <a:lnTo>
                  <a:pt x="2835" y="2296"/>
                </a:lnTo>
                <a:lnTo>
                  <a:pt x="2864" y="2260"/>
                </a:lnTo>
                <a:lnTo>
                  <a:pt x="2892" y="2226"/>
                </a:lnTo>
                <a:lnTo>
                  <a:pt x="2922" y="2194"/>
                </a:lnTo>
                <a:lnTo>
                  <a:pt x="2954" y="2162"/>
                </a:lnTo>
                <a:lnTo>
                  <a:pt x="2987" y="2133"/>
                </a:lnTo>
                <a:lnTo>
                  <a:pt x="3021" y="2105"/>
                </a:lnTo>
                <a:lnTo>
                  <a:pt x="3056" y="2078"/>
                </a:lnTo>
                <a:lnTo>
                  <a:pt x="3128" y="2026"/>
                </a:lnTo>
                <a:lnTo>
                  <a:pt x="3203" y="1981"/>
                </a:lnTo>
                <a:lnTo>
                  <a:pt x="3279" y="1938"/>
                </a:lnTo>
                <a:lnTo>
                  <a:pt x="3355" y="1899"/>
                </a:lnTo>
                <a:lnTo>
                  <a:pt x="3430" y="1865"/>
                </a:lnTo>
                <a:lnTo>
                  <a:pt x="3503" y="1836"/>
                </a:lnTo>
                <a:lnTo>
                  <a:pt x="3575" y="1810"/>
                </a:lnTo>
                <a:lnTo>
                  <a:pt x="3645" y="1787"/>
                </a:lnTo>
                <a:lnTo>
                  <a:pt x="3712" y="1766"/>
                </a:lnTo>
                <a:lnTo>
                  <a:pt x="3777" y="1749"/>
                </a:lnTo>
                <a:lnTo>
                  <a:pt x="3904" y="1718"/>
                </a:lnTo>
                <a:lnTo>
                  <a:pt x="4018" y="1695"/>
                </a:lnTo>
                <a:lnTo>
                  <a:pt x="4119" y="1678"/>
                </a:lnTo>
                <a:lnTo>
                  <a:pt x="4209" y="1667"/>
                </a:lnTo>
                <a:lnTo>
                  <a:pt x="4286" y="1658"/>
                </a:lnTo>
                <a:lnTo>
                  <a:pt x="4354" y="1653"/>
                </a:lnTo>
                <a:lnTo>
                  <a:pt x="4456" y="1647"/>
                </a:lnTo>
                <a:lnTo>
                  <a:pt x="4525" y="1641"/>
                </a:lnTo>
                <a:lnTo>
                  <a:pt x="4559" y="1636"/>
                </a:lnTo>
                <a:lnTo>
                  <a:pt x="4563" y="1634"/>
                </a:lnTo>
                <a:lnTo>
                  <a:pt x="4562" y="1631"/>
                </a:lnTo>
                <a:lnTo>
                  <a:pt x="4546" y="1624"/>
                </a:lnTo>
                <a:lnTo>
                  <a:pt x="4507" y="1618"/>
                </a:lnTo>
                <a:lnTo>
                  <a:pt x="4456" y="1613"/>
                </a:lnTo>
                <a:lnTo>
                  <a:pt x="4394" y="1608"/>
                </a:lnTo>
                <a:lnTo>
                  <a:pt x="4324" y="1605"/>
                </a:lnTo>
                <a:lnTo>
                  <a:pt x="4170" y="1605"/>
                </a:lnTo>
                <a:lnTo>
                  <a:pt x="4090" y="1608"/>
                </a:lnTo>
                <a:lnTo>
                  <a:pt x="4010" y="1613"/>
                </a:lnTo>
                <a:lnTo>
                  <a:pt x="3875" y="1626"/>
                </a:lnTo>
                <a:lnTo>
                  <a:pt x="3772" y="1640"/>
                </a:lnTo>
                <a:lnTo>
                  <a:pt x="3714" y="1647"/>
                </a:lnTo>
                <a:lnTo>
                  <a:pt x="3702" y="1647"/>
                </a:lnTo>
                <a:lnTo>
                  <a:pt x="3706" y="1645"/>
                </a:lnTo>
                <a:lnTo>
                  <a:pt x="3702" y="1645"/>
                </a:lnTo>
                <a:lnTo>
                  <a:pt x="3726" y="1636"/>
                </a:lnTo>
                <a:lnTo>
                  <a:pt x="3754" y="1629"/>
                </a:lnTo>
                <a:lnTo>
                  <a:pt x="3847" y="1608"/>
                </a:lnTo>
                <a:lnTo>
                  <a:pt x="3996" y="1582"/>
                </a:lnTo>
                <a:lnTo>
                  <a:pt x="4089" y="1570"/>
                </a:lnTo>
                <a:lnTo>
                  <a:pt x="4139" y="1565"/>
                </a:lnTo>
                <a:lnTo>
                  <a:pt x="4193" y="1560"/>
                </a:lnTo>
                <a:lnTo>
                  <a:pt x="4306" y="1554"/>
                </a:lnTo>
                <a:lnTo>
                  <a:pt x="4367" y="1551"/>
                </a:lnTo>
                <a:lnTo>
                  <a:pt x="4431" y="1550"/>
                </a:lnTo>
                <a:lnTo>
                  <a:pt x="4559" y="1550"/>
                </a:lnTo>
                <a:lnTo>
                  <a:pt x="4621" y="1551"/>
                </a:lnTo>
                <a:lnTo>
                  <a:pt x="4680" y="1555"/>
                </a:lnTo>
                <a:lnTo>
                  <a:pt x="4811" y="1565"/>
                </a:lnTo>
                <a:lnTo>
                  <a:pt x="4929" y="1578"/>
                </a:lnTo>
                <a:lnTo>
                  <a:pt x="5039" y="1596"/>
                </a:lnTo>
                <a:lnTo>
                  <a:pt x="5149" y="1616"/>
                </a:lnTo>
                <a:lnTo>
                  <a:pt x="5321" y="1655"/>
                </a:lnTo>
                <a:lnTo>
                  <a:pt x="5384" y="1668"/>
                </a:lnTo>
                <a:lnTo>
                  <a:pt x="5409" y="1673"/>
                </a:lnTo>
                <a:lnTo>
                  <a:pt x="5428" y="1675"/>
                </a:lnTo>
                <a:lnTo>
                  <a:pt x="5440" y="1674"/>
                </a:lnTo>
                <a:lnTo>
                  <a:pt x="5447" y="1672"/>
                </a:lnTo>
                <a:lnTo>
                  <a:pt x="5447" y="1668"/>
                </a:lnTo>
                <a:lnTo>
                  <a:pt x="5444" y="1666"/>
                </a:lnTo>
                <a:lnTo>
                  <a:pt x="5436" y="1656"/>
                </a:lnTo>
                <a:lnTo>
                  <a:pt x="5388" y="1628"/>
                </a:lnTo>
                <a:lnTo>
                  <a:pt x="5347" y="1609"/>
                </a:lnTo>
                <a:lnTo>
                  <a:pt x="5294" y="1587"/>
                </a:lnTo>
                <a:lnTo>
                  <a:pt x="5223" y="1561"/>
                </a:lnTo>
                <a:lnTo>
                  <a:pt x="5136" y="1533"/>
                </a:lnTo>
                <a:lnTo>
                  <a:pt x="5085" y="1520"/>
                </a:lnTo>
                <a:lnTo>
                  <a:pt x="5028" y="1506"/>
                </a:lnTo>
                <a:lnTo>
                  <a:pt x="4965" y="1491"/>
                </a:lnTo>
                <a:lnTo>
                  <a:pt x="4893" y="1479"/>
                </a:lnTo>
                <a:lnTo>
                  <a:pt x="4817" y="1467"/>
                </a:lnTo>
                <a:lnTo>
                  <a:pt x="4736" y="1457"/>
                </a:lnTo>
                <a:lnTo>
                  <a:pt x="4649" y="1447"/>
                </a:lnTo>
                <a:lnTo>
                  <a:pt x="4556" y="1440"/>
                </a:lnTo>
                <a:lnTo>
                  <a:pt x="4457" y="1435"/>
                </a:lnTo>
                <a:lnTo>
                  <a:pt x="4351" y="1433"/>
                </a:lnTo>
                <a:lnTo>
                  <a:pt x="4241" y="1433"/>
                </a:lnTo>
                <a:lnTo>
                  <a:pt x="4123" y="1435"/>
                </a:lnTo>
                <a:lnTo>
                  <a:pt x="3993" y="1445"/>
                </a:lnTo>
                <a:lnTo>
                  <a:pt x="3861" y="1458"/>
                </a:lnTo>
                <a:lnTo>
                  <a:pt x="3727" y="1477"/>
                </a:lnTo>
                <a:lnTo>
                  <a:pt x="3658" y="1489"/>
                </a:lnTo>
                <a:lnTo>
                  <a:pt x="3590" y="1501"/>
                </a:lnTo>
                <a:lnTo>
                  <a:pt x="3520" y="1517"/>
                </a:lnTo>
                <a:lnTo>
                  <a:pt x="3449" y="1533"/>
                </a:lnTo>
                <a:lnTo>
                  <a:pt x="3305" y="1574"/>
                </a:lnTo>
                <a:lnTo>
                  <a:pt x="3231" y="1597"/>
                </a:lnTo>
                <a:lnTo>
                  <a:pt x="3157" y="1623"/>
                </a:lnTo>
                <a:lnTo>
                  <a:pt x="3081" y="1652"/>
                </a:lnTo>
                <a:lnTo>
                  <a:pt x="3003" y="1684"/>
                </a:lnTo>
                <a:lnTo>
                  <a:pt x="2929" y="1717"/>
                </a:lnTo>
                <a:lnTo>
                  <a:pt x="2855" y="1753"/>
                </a:lnTo>
                <a:lnTo>
                  <a:pt x="2718" y="1827"/>
                </a:lnTo>
                <a:lnTo>
                  <a:pt x="2648" y="1870"/>
                </a:lnTo>
                <a:lnTo>
                  <a:pt x="2615" y="1894"/>
                </a:lnTo>
                <a:lnTo>
                  <a:pt x="2580" y="1918"/>
                </a:lnTo>
                <a:lnTo>
                  <a:pt x="2516" y="1967"/>
                </a:lnTo>
                <a:lnTo>
                  <a:pt x="2458" y="2013"/>
                </a:lnTo>
                <a:lnTo>
                  <a:pt x="2396" y="2070"/>
                </a:lnTo>
                <a:lnTo>
                  <a:pt x="2342" y="2124"/>
                </a:lnTo>
                <a:lnTo>
                  <a:pt x="2292" y="2179"/>
                </a:lnTo>
                <a:lnTo>
                  <a:pt x="2269" y="2210"/>
                </a:lnTo>
                <a:lnTo>
                  <a:pt x="2245" y="2242"/>
                </a:lnTo>
                <a:lnTo>
                  <a:pt x="2166" y="2372"/>
                </a:lnTo>
                <a:lnTo>
                  <a:pt x="2151" y="2399"/>
                </a:lnTo>
                <a:lnTo>
                  <a:pt x="2136" y="2432"/>
                </a:lnTo>
                <a:lnTo>
                  <a:pt x="2121" y="2470"/>
                </a:lnTo>
                <a:lnTo>
                  <a:pt x="2108" y="2512"/>
                </a:lnTo>
                <a:close/>
                <a:moveTo>
                  <a:pt x="0" y="2566"/>
                </a:moveTo>
                <a:lnTo>
                  <a:pt x="22" y="2490"/>
                </a:lnTo>
                <a:lnTo>
                  <a:pt x="46" y="2425"/>
                </a:lnTo>
                <a:lnTo>
                  <a:pt x="108" y="2287"/>
                </a:lnTo>
                <a:lnTo>
                  <a:pt x="177" y="2168"/>
                </a:lnTo>
                <a:lnTo>
                  <a:pt x="266" y="2027"/>
                </a:lnTo>
                <a:lnTo>
                  <a:pt x="312" y="1964"/>
                </a:lnTo>
                <a:lnTo>
                  <a:pt x="360" y="1903"/>
                </a:lnTo>
                <a:lnTo>
                  <a:pt x="410" y="1846"/>
                </a:lnTo>
                <a:lnTo>
                  <a:pt x="463" y="1791"/>
                </a:lnTo>
                <a:lnTo>
                  <a:pt x="518" y="1737"/>
                </a:lnTo>
                <a:lnTo>
                  <a:pt x="577" y="1683"/>
                </a:lnTo>
                <a:lnTo>
                  <a:pt x="707" y="1570"/>
                </a:lnTo>
                <a:lnTo>
                  <a:pt x="772" y="1520"/>
                </a:lnTo>
                <a:lnTo>
                  <a:pt x="840" y="1471"/>
                </a:lnTo>
                <a:lnTo>
                  <a:pt x="907" y="1423"/>
                </a:lnTo>
                <a:lnTo>
                  <a:pt x="977" y="1376"/>
                </a:lnTo>
                <a:lnTo>
                  <a:pt x="1121" y="1287"/>
                </a:lnTo>
                <a:lnTo>
                  <a:pt x="1269" y="1203"/>
                </a:lnTo>
                <a:lnTo>
                  <a:pt x="1421" y="1125"/>
                </a:lnTo>
                <a:lnTo>
                  <a:pt x="1498" y="1088"/>
                </a:lnTo>
                <a:lnTo>
                  <a:pt x="1578" y="1052"/>
                </a:lnTo>
                <a:lnTo>
                  <a:pt x="1738" y="985"/>
                </a:lnTo>
                <a:lnTo>
                  <a:pt x="1819" y="953"/>
                </a:lnTo>
                <a:lnTo>
                  <a:pt x="1901" y="922"/>
                </a:lnTo>
                <a:lnTo>
                  <a:pt x="2065" y="866"/>
                </a:lnTo>
                <a:lnTo>
                  <a:pt x="2231" y="816"/>
                </a:lnTo>
                <a:lnTo>
                  <a:pt x="2314" y="791"/>
                </a:lnTo>
                <a:lnTo>
                  <a:pt x="2397" y="769"/>
                </a:lnTo>
                <a:lnTo>
                  <a:pt x="2564" y="729"/>
                </a:lnTo>
                <a:lnTo>
                  <a:pt x="2731" y="692"/>
                </a:lnTo>
                <a:lnTo>
                  <a:pt x="2897" y="661"/>
                </a:lnTo>
                <a:lnTo>
                  <a:pt x="3062" y="634"/>
                </a:lnTo>
                <a:lnTo>
                  <a:pt x="3227" y="611"/>
                </a:lnTo>
                <a:lnTo>
                  <a:pt x="3388" y="592"/>
                </a:lnTo>
                <a:lnTo>
                  <a:pt x="3549" y="578"/>
                </a:lnTo>
                <a:lnTo>
                  <a:pt x="3707" y="567"/>
                </a:lnTo>
                <a:lnTo>
                  <a:pt x="3863" y="559"/>
                </a:lnTo>
                <a:lnTo>
                  <a:pt x="4016" y="556"/>
                </a:lnTo>
                <a:lnTo>
                  <a:pt x="4165" y="556"/>
                </a:lnTo>
                <a:lnTo>
                  <a:pt x="4311" y="558"/>
                </a:lnTo>
                <a:lnTo>
                  <a:pt x="4452" y="564"/>
                </a:lnTo>
                <a:lnTo>
                  <a:pt x="4599" y="572"/>
                </a:lnTo>
                <a:lnTo>
                  <a:pt x="4728" y="583"/>
                </a:lnTo>
                <a:lnTo>
                  <a:pt x="4849" y="596"/>
                </a:lnTo>
                <a:lnTo>
                  <a:pt x="4922" y="603"/>
                </a:lnTo>
                <a:lnTo>
                  <a:pt x="4988" y="612"/>
                </a:lnTo>
                <a:lnTo>
                  <a:pt x="5228" y="649"/>
                </a:lnTo>
                <a:lnTo>
                  <a:pt x="5350" y="670"/>
                </a:lnTo>
                <a:lnTo>
                  <a:pt x="5464" y="693"/>
                </a:lnTo>
                <a:lnTo>
                  <a:pt x="5574" y="718"/>
                </a:lnTo>
                <a:lnTo>
                  <a:pt x="5681" y="743"/>
                </a:lnTo>
                <a:lnTo>
                  <a:pt x="5781" y="770"/>
                </a:lnTo>
                <a:lnTo>
                  <a:pt x="5877" y="798"/>
                </a:lnTo>
                <a:lnTo>
                  <a:pt x="5970" y="827"/>
                </a:lnTo>
                <a:lnTo>
                  <a:pt x="6059" y="856"/>
                </a:lnTo>
                <a:lnTo>
                  <a:pt x="6146" y="887"/>
                </a:lnTo>
                <a:lnTo>
                  <a:pt x="6230" y="917"/>
                </a:lnTo>
                <a:lnTo>
                  <a:pt x="6384" y="981"/>
                </a:lnTo>
                <a:lnTo>
                  <a:pt x="6525" y="1046"/>
                </a:lnTo>
                <a:lnTo>
                  <a:pt x="6653" y="1112"/>
                </a:lnTo>
                <a:lnTo>
                  <a:pt x="6770" y="1179"/>
                </a:lnTo>
                <a:lnTo>
                  <a:pt x="6874" y="1245"/>
                </a:lnTo>
                <a:lnTo>
                  <a:pt x="6969" y="1310"/>
                </a:lnTo>
                <a:lnTo>
                  <a:pt x="7053" y="1375"/>
                </a:lnTo>
                <a:lnTo>
                  <a:pt x="7128" y="1437"/>
                </a:lnTo>
                <a:lnTo>
                  <a:pt x="7194" y="1498"/>
                </a:lnTo>
                <a:lnTo>
                  <a:pt x="7253" y="1555"/>
                </a:lnTo>
                <a:lnTo>
                  <a:pt x="7305" y="1609"/>
                </a:lnTo>
                <a:lnTo>
                  <a:pt x="7351" y="1662"/>
                </a:lnTo>
                <a:lnTo>
                  <a:pt x="7392" y="1712"/>
                </a:lnTo>
                <a:lnTo>
                  <a:pt x="7427" y="1759"/>
                </a:lnTo>
                <a:lnTo>
                  <a:pt x="7457" y="1804"/>
                </a:lnTo>
                <a:lnTo>
                  <a:pt x="7484" y="1847"/>
                </a:lnTo>
                <a:lnTo>
                  <a:pt x="7526" y="1923"/>
                </a:lnTo>
                <a:lnTo>
                  <a:pt x="7555" y="1991"/>
                </a:lnTo>
                <a:lnTo>
                  <a:pt x="7593" y="2091"/>
                </a:lnTo>
                <a:lnTo>
                  <a:pt x="7609" y="2130"/>
                </a:lnTo>
                <a:lnTo>
                  <a:pt x="7624" y="2160"/>
                </a:lnTo>
                <a:lnTo>
                  <a:pt x="7636" y="2179"/>
                </a:lnTo>
                <a:lnTo>
                  <a:pt x="7647" y="2190"/>
                </a:lnTo>
                <a:lnTo>
                  <a:pt x="7651" y="2194"/>
                </a:lnTo>
                <a:lnTo>
                  <a:pt x="7656" y="2195"/>
                </a:lnTo>
                <a:lnTo>
                  <a:pt x="7665" y="2195"/>
                </a:lnTo>
                <a:lnTo>
                  <a:pt x="7674" y="2189"/>
                </a:lnTo>
                <a:lnTo>
                  <a:pt x="7684" y="2181"/>
                </a:lnTo>
                <a:lnTo>
                  <a:pt x="7689" y="2172"/>
                </a:lnTo>
                <a:lnTo>
                  <a:pt x="7692" y="2163"/>
                </a:lnTo>
                <a:lnTo>
                  <a:pt x="7698" y="2144"/>
                </a:lnTo>
                <a:lnTo>
                  <a:pt x="7707" y="2094"/>
                </a:lnTo>
                <a:lnTo>
                  <a:pt x="7710" y="2065"/>
                </a:lnTo>
                <a:lnTo>
                  <a:pt x="7710" y="2033"/>
                </a:lnTo>
                <a:lnTo>
                  <a:pt x="7707" y="1966"/>
                </a:lnTo>
                <a:lnTo>
                  <a:pt x="7698" y="1892"/>
                </a:lnTo>
                <a:lnTo>
                  <a:pt x="7683" y="1818"/>
                </a:lnTo>
                <a:lnTo>
                  <a:pt x="7662" y="1743"/>
                </a:lnTo>
                <a:lnTo>
                  <a:pt x="7635" y="1672"/>
                </a:lnTo>
                <a:lnTo>
                  <a:pt x="7603" y="1607"/>
                </a:lnTo>
                <a:lnTo>
                  <a:pt x="7575" y="1551"/>
                </a:lnTo>
                <a:lnTo>
                  <a:pt x="7533" y="1475"/>
                </a:lnTo>
                <a:lnTo>
                  <a:pt x="7522" y="1453"/>
                </a:lnTo>
                <a:lnTo>
                  <a:pt x="7517" y="1441"/>
                </a:lnTo>
                <a:lnTo>
                  <a:pt x="7518" y="1440"/>
                </a:lnTo>
                <a:lnTo>
                  <a:pt x="7522" y="1440"/>
                </a:lnTo>
                <a:lnTo>
                  <a:pt x="7535" y="1450"/>
                </a:lnTo>
                <a:lnTo>
                  <a:pt x="7570" y="1480"/>
                </a:lnTo>
                <a:lnTo>
                  <a:pt x="7611" y="1521"/>
                </a:lnTo>
                <a:lnTo>
                  <a:pt x="7658" y="1575"/>
                </a:lnTo>
                <a:lnTo>
                  <a:pt x="7681" y="1605"/>
                </a:lnTo>
                <a:lnTo>
                  <a:pt x="7707" y="1639"/>
                </a:lnTo>
                <a:lnTo>
                  <a:pt x="7756" y="1715"/>
                </a:lnTo>
                <a:lnTo>
                  <a:pt x="7779" y="1756"/>
                </a:lnTo>
                <a:lnTo>
                  <a:pt x="7803" y="1802"/>
                </a:lnTo>
                <a:lnTo>
                  <a:pt x="7825" y="1850"/>
                </a:lnTo>
                <a:lnTo>
                  <a:pt x="7844" y="1901"/>
                </a:lnTo>
                <a:lnTo>
                  <a:pt x="7863" y="1954"/>
                </a:lnTo>
                <a:lnTo>
                  <a:pt x="7880" y="2010"/>
                </a:lnTo>
                <a:lnTo>
                  <a:pt x="7892" y="2070"/>
                </a:lnTo>
                <a:lnTo>
                  <a:pt x="7900" y="2130"/>
                </a:lnTo>
                <a:lnTo>
                  <a:pt x="7903" y="2190"/>
                </a:lnTo>
                <a:lnTo>
                  <a:pt x="7903" y="2252"/>
                </a:lnTo>
                <a:lnTo>
                  <a:pt x="7900" y="2313"/>
                </a:lnTo>
                <a:lnTo>
                  <a:pt x="7892" y="2374"/>
                </a:lnTo>
                <a:lnTo>
                  <a:pt x="7881" y="2436"/>
                </a:lnTo>
                <a:lnTo>
                  <a:pt x="7867" y="2496"/>
                </a:lnTo>
                <a:lnTo>
                  <a:pt x="7848" y="2556"/>
                </a:lnTo>
                <a:lnTo>
                  <a:pt x="7827" y="2615"/>
                </a:lnTo>
                <a:lnTo>
                  <a:pt x="7803" y="2674"/>
                </a:lnTo>
                <a:lnTo>
                  <a:pt x="7776" y="2731"/>
                </a:lnTo>
                <a:lnTo>
                  <a:pt x="7746" y="2787"/>
                </a:lnTo>
                <a:lnTo>
                  <a:pt x="7730" y="2815"/>
                </a:lnTo>
                <a:lnTo>
                  <a:pt x="7713" y="2842"/>
                </a:lnTo>
                <a:lnTo>
                  <a:pt x="7678" y="2894"/>
                </a:lnTo>
                <a:lnTo>
                  <a:pt x="7640" y="2945"/>
                </a:lnTo>
                <a:lnTo>
                  <a:pt x="7568" y="3031"/>
                </a:lnTo>
                <a:lnTo>
                  <a:pt x="7505" y="3103"/>
                </a:lnTo>
                <a:lnTo>
                  <a:pt x="7478" y="3134"/>
                </a:lnTo>
                <a:lnTo>
                  <a:pt x="7457" y="3159"/>
                </a:lnTo>
                <a:lnTo>
                  <a:pt x="7441" y="3181"/>
                </a:lnTo>
                <a:lnTo>
                  <a:pt x="7432" y="3199"/>
                </a:lnTo>
                <a:lnTo>
                  <a:pt x="7432" y="3205"/>
                </a:lnTo>
                <a:lnTo>
                  <a:pt x="7434" y="3208"/>
                </a:lnTo>
                <a:lnTo>
                  <a:pt x="7438" y="3212"/>
                </a:lnTo>
                <a:lnTo>
                  <a:pt x="7445" y="3215"/>
                </a:lnTo>
                <a:lnTo>
                  <a:pt x="7453" y="3215"/>
                </a:lnTo>
                <a:lnTo>
                  <a:pt x="7464" y="3213"/>
                </a:lnTo>
                <a:lnTo>
                  <a:pt x="7494" y="3206"/>
                </a:lnTo>
                <a:lnTo>
                  <a:pt x="7534" y="3190"/>
                </a:lnTo>
                <a:lnTo>
                  <a:pt x="7586" y="3166"/>
                </a:lnTo>
                <a:lnTo>
                  <a:pt x="7647" y="3131"/>
                </a:lnTo>
                <a:lnTo>
                  <a:pt x="7721" y="3086"/>
                </a:lnTo>
                <a:lnTo>
                  <a:pt x="7805" y="3028"/>
                </a:lnTo>
                <a:lnTo>
                  <a:pt x="7851" y="2993"/>
                </a:lnTo>
                <a:lnTo>
                  <a:pt x="7897" y="2953"/>
                </a:lnTo>
                <a:lnTo>
                  <a:pt x="7945" y="2909"/>
                </a:lnTo>
                <a:lnTo>
                  <a:pt x="7994" y="2859"/>
                </a:lnTo>
                <a:lnTo>
                  <a:pt x="8042" y="2802"/>
                </a:lnTo>
                <a:lnTo>
                  <a:pt x="8090" y="2740"/>
                </a:lnTo>
                <a:lnTo>
                  <a:pt x="8136" y="2677"/>
                </a:lnTo>
                <a:lnTo>
                  <a:pt x="8180" y="2607"/>
                </a:lnTo>
                <a:lnTo>
                  <a:pt x="8201" y="2571"/>
                </a:lnTo>
                <a:lnTo>
                  <a:pt x="8222" y="2530"/>
                </a:lnTo>
                <a:lnTo>
                  <a:pt x="8258" y="2447"/>
                </a:lnTo>
                <a:lnTo>
                  <a:pt x="8272" y="2401"/>
                </a:lnTo>
                <a:lnTo>
                  <a:pt x="8286" y="2355"/>
                </a:lnTo>
                <a:lnTo>
                  <a:pt x="8297" y="2306"/>
                </a:lnTo>
                <a:lnTo>
                  <a:pt x="8306" y="2254"/>
                </a:lnTo>
                <a:lnTo>
                  <a:pt x="8313" y="2202"/>
                </a:lnTo>
                <a:lnTo>
                  <a:pt x="8317" y="2148"/>
                </a:lnTo>
                <a:lnTo>
                  <a:pt x="8317" y="2090"/>
                </a:lnTo>
                <a:lnTo>
                  <a:pt x="8314" y="2031"/>
                </a:lnTo>
                <a:lnTo>
                  <a:pt x="8309" y="1972"/>
                </a:lnTo>
                <a:lnTo>
                  <a:pt x="8302" y="1913"/>
                </a:lnTo>
                <a:lnTo>
                  <a:pt x="8290" y="1853"/>
                </a:lnTo>
                <a:lnTo>
                  <a:pt x="8275" y="1792"/>
                </a:lnTo>
                <a:lnTo>
                  <a:pt x="8253" y="1727"/>
                </a:lnTo>
                <a:lnTo>
                  <a:pt x="8226" y="1661"/>
                </a:lnTo>
                <a:lnTo>
                  <a:pt x="8210" y="1626"/>
                </a:lnTo>
                <a:lnTo>
                  <a:pt x="8190" y="1591"/>
                </a:lnTo>
                <a:lnTo>
                  <a:pt x="8171" y="1554"/>
                </a:lnTo>
                <a:lnTo>
                  <a:pt x="8147" y="1517"/>
                </a:lnTo>
                <a:lnTo>
                  <a:pt x="8106" y="1448"/>
                </a:lnTo>
                <a:lnTo>
                  <a:pt x="8058" y="1379"/>
                </a:lnTo>
                <a:lnTo>
                  <a:pt x="8003" y="1306"/>
                </a:lnTo>
                <a:lnTo>
                  <a:pt x="7940" y="1234"/>
                </a:lnTo>
                <a:lnTo>
                  <a:pt x="7906" y="1197"/>
                </a:lnTo>
                <a:lnTo>
                  <a:pt x="7870" y="1160"/>
                </a:lnTo>
                <a:lnTo>
                  <a:pt x="7831" y="1122"/>
                </a:lnTo>
                <a:lnTo>
                  <a:pt x="7789" y="1084"/>
                </a:lnTo>
                <a:lnTo>
                  <a:pt x="7700" y="1008"/>
                </a:lnTo>
                <a:lnTo>
                  <a:pt x="7599" y="930"/>
                </a:lnTo>
                <a:lnTo>
                  <a:pt x="7546" y="892"/>
                </a:lnTo>
                <a:lnTo>
                  <a:pt x="7492" y="855"/>
                </a:lnTo>
                <a:lnTo>
                  <a:pt x="7436" y="817"/>
                </a:lnTo>
                <a:lnTo>
                  <a:pt x="7377" y="780"/>
                </a:lnTo>
                <a:lnTo>
                  <a:pt x="7254" y="705"/>
                </a:lnTo>
                <a:lnTo>
                  <a:pt x="7122" y="633"/>
                </a:lnTo>
                <a:lnTo>
                  <a:pt x="7053" y="596"/>
                </a:lnTo>
                <a:lnTo>
                  <a:pt x="6981" y="562"/>
                </a:lnTo>
                <a:lnTo>
                  <a:pt x="6907" y="526"/>
                </a:lnTo>
                <a:lnTo>
                  <a:pt x="6831" y="492"/>
                </a:lnTo>
                <a:lnTo>
                  <a:pt x="6753" y="459"/>
                </a:lnTo>
                <a:lnTo>
                  <a:pt x="6672" y="426"/>
                </a:lnTo>
                <a:lnTo>
                  <a:pt x="6503" y="362"/>
                </a:lnTo>
                <a:lnTo>
                  <a:pt x="6414" y="331"/>
                </a:lnTo>
                <a:lnTo>
                  <a:pt x="6324" y="301"/>
                </a:lnTo>
                <a:lnTo>
                  <a:pt x="6230" y="272"/>
                </a:lnTo>
                <a:lnTo>
                  <a:pt x="6135" y="244"/>
                </a:lnTo>
                <a:lnTo>
                  <a:pt x="5935" y="190"/>
                </a:lnTo>
                <a:lnTo>
                  <a:pt x="5725" y="142"/>
                </a:lnTo>
                <a:lnTo>
                  <a:pt x="5616" y="120"/>
                </a:lnTo>
                <a:lnTo>
                  <a:pt x="5504" y="98"/>
                </a:lnTo>
                <a:lnTo>
                  <a:pt x="5389" y="79"/>
                </a:lnTo>
                <a:lnTo>
                  <a:pt x="5271" y="60"/>
                </a:lnTo>
                <a:lnTo>
                  <a:pt x="5151" y="43"/>
                </a:lnTo>
                <a:lnTo>
                  <a:pt x="5028" y="27"/>
                </a:lnTo>
                <a:lnTo>
                  <a:pt x="4773" y="0"/>
                </a:lnTo>
                <a:lnTo>
                  <a:pt x="4922" y="14"/>
                </a:lnTo>
                <a:lnTo>
                  <a:pt x="5065" y="28"/>
                </a:lnTo>
                <a:lnTo>
                  <a:pt x="5206" y="45"/>
                </a:lnTo>
                <a:lnTo>
                  <a:pt x="5345" y="64"/>
                </a:lnTo>
                <a:lnTo>
                  <a:pt x="5480" y="85"/>
                </a:lnTo>
                <a:lnTo>
                  <a:pt x="5611" y="108"/>
                </a:lnTo>
                <a:lnTo>
                  <a:pt x="5740" y="132"/>
                </a:lnTo>
                <a:lnTo>
                  <a:pt x="5865" y="158"/>
                </a:lnTo>
                <a:lnTo>
                  <a:pt x="6106" y="216"/>
                </a:lnTo>
                <a:lnTo>
                  <a:pt x="6336" y="280"/>
                </a:lnTo>
                <a:lnTo>
                  <a:pt x="6446" y="314"/>
                </a:lnTo>
                <a:lnTo>
                  <a:pt x="6554" y="350"/>
                </a:lnTo>
                <a:lnTo>
                  <a:pt x="6657" y="386"/>
                </a:lnTo>
                <a:lnTo>
                  <a:pt x="6759" y="424"/>
                </a:lnTo>
                <a:lnTo>
                  <a:pt x="6857" y="464"/>
                </a:lnTo>
                <a:lnTo>
                  <a:pt x="6952" y="504"/>
                </a:lnTo>
                <a:lnTo>
                  <a:pt x="7044" y="546"/>
                </a:lnTo>
                <a:lnTo>
                  <a:pt x="7133" y="588"/>
                </a:lnTo>
                <a:lnTo>
                  <a:pt x="7219" y="632"/>
                </a:lnTo>
                <a:lnTo>
                  <a:pt x="7302" y="676"/>
                </a:lnTo>
                <a:lnTo>
                  <a:pt x="7383" y="720"/>
                </a:lnTo>
                <a:lnTo>
                  <a:pt x="7461" y="765"/>
                </a:lnTo>
                <a:lnTo>
                  <a:pt x="7535" y="812"/>
                </a:lnTo>
                <a:lnTo>
                  <a:pt x="7608" y="859"/>
                </a:lnTo>
                <a:lnTo>
                  <a:pt x="7676" y="905"/>
                </a:lnTo>
                <a:lnTo>
                  <a:pt x="7743" y="953"/>
                </a:lnTo>
                <a:lnTo>
                  <a:pt x="7805" y="1001"/>
                </a:lnTo>
                <a:lnTo>
                  <a:pt x="7867" y="1050"/>
                </a:lnTo>
                <a:lnTo>
                  <a:pt x="7924" y="1098"/>
                </a:lnTo>
                <a:lnTo>
                  <a:pt x="7979" y="1147"/>
                </a:lnTo>
                <a:lnTo>
                  <a:pt x="8030" y="1196"/>
                </a:lnTo>
                <a:lnTo>
                  <a:pt x="8076" y="1245"/>
                </a:lnTo>
                <a:lnTo>
                  <a:pt x="8163" y="1342"/>
                </a:lnTo>
                <a:lnTo>
                  <a:pt x="8204" y="1391"/>
                </a:lnTo>
                <a:lnTo>
                  <a:pt x="8241" y="1439"/>
                </a:lnTo>
                <a:lnTo>
                  <a:pt x="8307" y="1536"/>
                </a:lnTo>
                <a:lnTo>
                  <a:pt x="8336" y="1583"/>
                </a:lnTo>
                <a:lnTo>
                  <a:pt x="8363" y="1631"/>
                </a:lnTo>
                <a:lnTo>
                  <a:pt x="8388" y="1679"/>
                </a:lnTo>
                <a:lnTo>
                  <a:pt x="8410" y="1726"/>
                </a:lnTo>
                <a:lnTo>
                  <a:pt x="8429" y="1773"/>
                </a:lnTo>
                <a:lnTo>
                  <a:pt x="8448" y="1820"/>
                </a:lnTo>
                <a:lnTo>
                  <a:pt x="8477" y="1913"/>
                </a:lnTo>
                <a:lnTo>
                  <a:pt x="8490" y="1959"/>
                </a:lnTo>
                <a:lnTo>
                  <a:pt x="8498" y="2004"/>
                </a:lnTo>
                <a:lnTo>
                  <a:pt x="8507" y="2049"/>
                </a:lnTo>
                <a:lnTo>
                  <a:pt x="8512" y="2094"/>
                </a:lnTo>
                <a:lnTo>
                  <a:pt x="8517" y="2139"/>
                </a:lnTo>
                <a:lnTo>
                  <a:pt x="8518" y="2182"/>
                </a:lnTo>
                <a:lnTo>
                  <a:pt x="8519" y="2226"/>
                </a:lnTo>
                <a:lnTo>
                  <a:pt x="8518" y="2269"/>
                </a:lnTo>
                <a:lnTo>
                  <a:pt x="8509" y="2354"/>
                </a:lnTo>
                <a:lnTo>
                  <a:pt x="8496" y="2436"/>
                </a:lnTo>
                <a:lnTo>
                  <a:pt x="8476" y="2515"/>
                </a:lnTo>
                <a:lnTo>
                  <a:pt x="8452" y="2593"/>
                </a:lnTo>
                <a:lnTo>
                  <a:pt x="8421" y="2670"/>
                </a:lnTo>
                <a:lnTo>
                  <a:pt x="8387" y="2744"/>
                </a:lnTo>
                <a:lnTo>
                  <a:pt x="8347" y="2815"/>
                </a:lnTo>
                <a:lnTo>
                  <a:pt x="8306" y="2883"/>
                </a:lnTo>
                <a:lnTo>
                  <a:pt x="8261" y="2948"/>
                </a:lnTo>
                <a:lnTo>
                  <a:pt x="8214" y="3011"/>
                </a:lnTo>
                <a:lnTo>
                  <a:pt x="8188" y="3042"/>
                </a:lnTo>
                <a:lnTo>
                  <a:pt x="8162" y="3071"/>
                </a:lnTo>
                <a:lnTo>
                  <a:pt x="8108" y="3129"/>
                </a:lnTo>
                <a:lnTo>
                  <a:pt x="8053" y="3184"/>
                </a:lnTo>
                <a:lnTo>
                  <a:pt x="7994" y="3237"/>
                </a:lnTo>
                <a:lnTo>
                  <a:pt x="7934" y="3287"/>
                </a:lnTo>
                <a:lnTo>
                  <a:pt x="7873" y="3335"/>
                </a:lnTo>
                <a:lnTo>
                  <a:pt x="7809" y="3381"/>
                </a:lnTo>
                <a:lnTo>
                  <a:pt x="7745" y="3424"/>
                </a:lnTo>
                <a:lnTo>
                  <a:pt x="7679" y="3466"/>
                </a:lnTo>
                <a:lnTo>
                  <a:pt x="7613" y="3505"/>
                </a:lnTo>
                <a:lnTo>
                  <a:pt x="7545" y="3544"/>
                </a:lnTo>
                <a:lnTo>
                  <a:pt x="7478" y="3581"/>
                </a:lnTo>
                <a:lnTo>
                  <a:pt x="7346" y="3649"/>
                </a:lnTo>
                <a:lnTo>
                  <a:pt x="7216" y="3708"/>
                </a:lnTo>
                <a:lnTo>
                  <a:pt x="7090" y="3759"/>
                </a:lnTo>
                <a:lnTo>
                  <a:pt x="7026" y="3782"/>
                </a:lnTo>
                <a:lnTo>
                  <a:pt x="6964" y="3804"/>
                </a:lnTo>
                <a:lnTo>
                  <a:pt x="6840" y="3846"/>
                </a:lnTo>
                <a:lnTo>
                  <a:pt x="6718" y="3882"/>
                </a:lnTo>
                <a:lnTo>
                  <a:pt x="6598" y="3916"/>
                </a:lnTo>
                <a:lnTo>
                  <a:pt x="6487" y="3943"/>
                </a:lnTo>
                <a:lnTo>
                  <a:pt x="6380" y="3968"/>
                </a:lnTo>
                <a:lnTo>
                  <a:pt x="6181" y="4007"/>
                </a:lnTo>
                <a:lnTo>
                  <a:pt x="6089" y="4023"/>
                </a:lnTo>
                <a:lnTo>
                  <a:pt x="6002" y="4038"/>
                </a:lnTo>
                <a:lnTo>
                  <a:pt x="5844" y="4058"/>
                </a:lnTo>
                <a:lnTo>
                  <a:pt x="5704" y="4073"/>
                </a:lnTo>
                <a:lnTo>
                  <a:pt x="5584" y="4083"/>
                </a:lnTo>
                <a:lnTo>
                  <a:pt x="5401" y="4094"/>
                </a:lnTo>
                <a:lnTo>
                  <a:pt x="5277" y="4105"/>
                </a:lnTo>
                <a:lnTo>
                  <a:pt x="5220" y="4114"/>
                </a:lnTo>
                <a:lnTo>
                  <a:pt x="5215" y="4116"/>
                </a:lnTo>
                <a:lnTo>
                  <a:pt x="5211" y="4118"/>
                </a:lnTo>
                <a:lnTo>
                  <a:pt x="5211" y="4121"/>
                </a:lnTo>
                <a:lnTo>
                  <a:pt x="5214" y="4123"/>
                </a:lnTo>
                <a:lnTo>
                  <a:pt x="5223" y="4128"/>
                </a:lnTo>
                <a:lnTo>
                  <a:pt x="5241" y="4134"/>
                </a:lnTo>
                <a:lnTo>
                  <a:pt x="5310" y="4145"/>
                </a:lnTo>
                <a:lnTo>
                  <a:pt x="5401" y="4155"/>
                </a:lnTo>
                <a:lnTo>
                  <a:pt x="5510" y="4163"/>
                </a:lnTo>
                <a:lnTo>
                  <a:pt x="5633" y="4168"/>
                </a:lnTo>
                <a:lnTo>
                  <a:pt x="5767" y="4170"/>
                </a:lnTo>
                <a:lnTo>
                  <a:pt x="5905" y="4169"/>
                </a:lnTo>
                <a:lnTo>
                  <a:pt x="6048" y="4164"/>
                </a:lnTo>
                <a:lnTo>
                  <a:pt x="6187" y="4155"/>
                </a:lnTo>
                <a:lnTo>
                  <a:pt x="6316" y="4144"/>
                </a:lnTo>
                <a:lnTo>
                  <a:pt x="6430" y="4132"/>
                </a:lnTo>
                <a:lnTo>
                  <a:pt x="6608" y="4109"/>
                </a:lnTo>
                <a:lnTo>
                  <a:pt x="6712" y="4095"/>
                </a:lnTo>
                <a:lnTo>
                  <a:pt x="6732" y="4094"/>
                </a:lnTo>
                <a:lnTo>
                  <a:pt x="6733" y="4096"/>
                </a:lnTo>
                <a:lnTo>
                  <a:pt x="6730" y="4099"/>
                </a:lnTo>
                <a:lnTo>
                  <a:pt x="6699" y="4110"/>
                </a:lnTo>
                <a:lnTo>
                  <a:pt x="6649" y="4126"/>
                </a:lnTo>
                <a:lnTo>
                  <a:pt x="6575" y="4144"/>
                </a:lnTo>
                <a:lnTo>
                  <a:pt x="6481" y="4166"/>
                </a:lnTo>
                <a:lnTo>
                  <a:pt x="6362" y="4188"/>
                </a:lnTo>
                <a:lnTo>
                  <a:pt x="6221" y="4210"/>
                </a:lnTo>
                <a:lnTo>
                  <a:pt x="6055" y="4230"/>
                </a:lnTo>
                <a:lnTo>
                  <a:pt x="5865" y="4247"/>
                </a:lnTo>
                <a:lnTo>
                  <a:pt x="5764" y="4255"/>
                </a:lnTo>
                <a:lnTo>
                  <a:pt x="5661" y="4260"/>
                </a:lnTo>
                <a:lnTo>
                  <a:pt x="5556" y="4262"/>
                </a:lnTo>
                <a:lnTo>
                  <a:pt x="5448" y="4263"/>
                </a:lnTo>
                <a:lnTo>
                  <a:pt x="5229" y="4260"/>
                </a:lnTo>
                <a:lnTo>
                  <a:pt x="5009" y="4250"/>
                </a:lnTo>
                <a:lnTo>
                  <a:pt x="4898" y="4242"/>
                </a:lnTo>
                <a:lnTo>
                  <a:pt x="4789" y="4233"/>
                </a:lnTo>
                <a:lnTo>
                  <a:pt x="4681" y="4223"/>
                </a:lnTo>
                <a:lnTo>
                  <a:pt x="4575" y="4210"/>
                </a:lnTo>
                <a:lnTo>
                  <a:pt x="4370" y="4181"/>
                </a:lnTo>
                <a:lnTo>
                  <a:pt x="4177" y="4148"/>
                </a:lnTo>
                <a:lnTo>
                  <a:pt x="4012" y="4112"/>
                </a:lnTo>
                <a:lnTo>
                  <a:pt x="3867" y="4079"/>
                </a:lnTo>
                <a:lnTo>
                  <a:pt x="3755" y="4055"/>
                </a:lnTo>
                <a:lnTo>
                  <a:pt x="3714" y="4047"/>
                </a:lnTo>
                <a:lnTo>
                  <a:pt x="3684" y="4045"/>
                </a:lnTo>
                <a:lnTo>
                  <a:pt x="3658" y="4045"/>
                </a:lnTo>
                <a:lnTo>
                  <a:pt x="3651" y="4047"/>
                </a:lnTo>
                <a:lnTo>
                  <a:pt x="3646" y="4050"/>
                </a:lnTo>
                <a:lnTo>
                  <a:pt x="3645" y="4055"/>
                </a:lnTo>
                <a:lnTo>
                  <a:pt x="3649" y="4061"/>
                </a:lnTo>
                <a:lnTo>
                  <a:pt x="3666" y="4077"/>
                </a:lnTo>
                <a:lnTo>
                  <a:pt x="3700" y="4099"/>
                </a:lnTo>
                <a:lnTo>
                  <a:pt x="3754" y="4127"/>
                </a:lnTo>
                <a:lnTo>
                  <a:pt x="3826" y="4161"/>
                </a:lnTo>
                <a:lnTo>
                  <a:pt x="3921" y="4201"/>
                </a:lnTo>
                <a:lnTo>
                  <a:pt x="4050" y="4246"/>
                </a:lnTo>
                <a:lnTo>
                  <a:pt x="4124" y="4271"/>
                </a:lnTo>
                <a:lnTo>
                  <a:pt x="4208" y="4295"/>
                </a:lnTo>
                <a:lnTo>
                  <a:pt x="4300" y="4320"/>
                </a:lnTo>
                <a:lnTo>
                  <a:pt x="4400" y="4344"/>
                </a:lnTo>
                <a:lnTo>
                  <a:pt x="4628" y="4391"/>
                </a:lnTo>
                <a:lnTo>
                  <a:pt x="4762" y="4412"/>
                </a:lnTo>
                <a:lnTo>
                  <a:pt x="4832" y="4421"/>
                </a:lnTo>
                <a:lnTo>
                  <a:pt x="4906" y="4431"/>
                </a:lnTo>
                <a:lnTo>
                  <a:pt x="5060" y="4447"/>
                </a:lnTo>
                <a:lnTo>
                  <a:pt x="5225" y="4459"/>
                </a:lnTo>
                <a:lnTo>
                  <a:pt x="5399" y="4468"/>
                </a:lnTo>
                <a:lnTo>
                  <a:pt x="5585" y="4473"/>
                </a:lnTo>
                <a:lnTo>
                  <a:pt x="5781" y="4473"/>
                </a:lnTo>
                <a:lnTo>
                  <a:pt x="5989" y="4468"/>
                </a:lnTo>
                <a:lnTo>
                  <a:pt x="6095" y="4462"/>
                </a:lnTo>
                <a:lnTo>
                  <a:pt x="6211" y="4452"/>
                </a:lnTo>
                <a:lnTo>
                  <a:pt x="6250" y="4451"/>
                </a:lnTo>
                <a:lnTo>
                  <a:pt x="6304" y="4446"/>
                </a:lnTo>
                <a:lnTo>
                  <a:pt x="6441" y="4428"/>
                </a:lnTo>
                <a:lnTo>
                  <a:pt x="6682" y="4394"/>
                </a:lnTo>
                <a:lnTo>
                  <a:pt x="6797" y="4375"/>
                </a:lnTo>
                <a:lnTo>
                  <a:pt x="6928" y="4348"/>
                </a:lnTo>
                <a:lnTo>
                  <a:pt x="7185" y="4289"/>
                </a:lnTo>
                <a:lnTo>
                  <a:pt x="7308" y="4257"/>
                </a:lnTo>
                <a:lnTo>
                  <a:pt x="7443" y="4218"/>
                </a:lnTo>
                <a:lnTo>
                  <a:pt x="7578" y="4176"/>
                </a:lnTo>
                <a:lnTo>
                  <a:pt x="7710" y="4131"/>
                </a:lnTo>
                <a:lnTo>
                  <a:pt x="7838" y="4082"/>
                </a:lnTo>
                <a:lnTo>
                  <a:pt x="7965" y="4030"/>
                </a:lnTo>
                <a:lnTo>
                  <a:pt x="8032" y="4001"/>
                </a:lnTo>
                <a:lnTo>
                  <a:pt x="8098" y="3970"/>
                </a:lnTo>
                <a:lnTo>
                  <a:pt x="8228" y="3908"/>
                </a:lnTo>
                <a:lnTo>
                  <a:pt x="8353" y="3841"/>
                </a:lnTo>
                <a:lnTo>
                  <a:pt x="8471" y="3775"/>
                </a:lnTo>
                <a:lnTo>
                  <a:pt x="8531" y="3738"/>
                </a:lnTo>
                <a:lnTo>
                  <a:pt x="8593" y="3699"/>
                </a:lnTo>
                <a:lnTo>
                  <a:pt x="8653" y="3657"/>
                </a:lnTo>
                <a:lnTo>
                  <a:pt x="8712" y="3616"/>
                </a:lnTo>
                <a:lnTo>
                  <a:pt x="8826" y="3530"/>
                </a:lnTo>
                <a:lnTo>
                  <a:pt x="8929" y="3449"/>
                </a:lnTo>
                <a:lnTo>
                  <a:pt x="9038" y="3348"/>
                </a:lnTo>
                <a:lnTo>
                  <a:pt x="9087" y="3300"/>
                </a:lnTo>
                <a:lnTo>
                  <a:pt x="9134" y="3253"/>
                </a:lnTo>
                <a:lnTo>
                  <a:pt x="9178" y="3204"/>
                </a:lnTo>
                <a:lnTo>
                  <a:pt x="9221" y="3153"/>
                </a:lnTo>
                <a:lnTo>
                  <a:pt x="9262" y="3101"/>
                </a:lnTo>
                <a:lnTo>
                  <a:pt x="9303" y="3044"/>
                </a:lnTo>
                <a:lnTo>
                  <a:pt x="9380" y="2918"/>
                </a:lnTo>
                <a:lnTo>
                  <a:pt x="9444" y="2815"/>
                </a:lnTo>
                <a:lnTo>
                  <a:pt x="9470" y="2766"/>
                </a:lnTo>
                <a:lnTo>
                  <a:pt x="9497" y="2708"/>
                </a:lnTo>
                <a:lnTo>
                  <a:pt x="9522" y="2642"/>
                </a:lnTo>
                <a:lnTo>
                  <a:pt x="9535" y="2606"/>
                </a:lnTo>
                <a:lnTo>
                  <a:pt x="9546" y="2567"/>
                </a:lnTo>
                <a:lnTo>
                  <a:pt x="9524" y="2644"/>
                </a:lnTo>
                <a:lnTo>
                  <a:pt x="9498" y="2709"/>
                </a:lnTo>
                <a:lnTo>
                  <a:pt x="9438" y="2847"/>
                </a:lnTo>
                <a:lnTo>
                  <a:pt x="9368" y="2964"/>
                </a:lnTo>
                <a:lnTo>
                  <a:pt x="9278" y="3107"/>
                </a:lnTo>
                <a:lnTo>
                  <a:pt x="9232" y="3170"/>
                </a:lnTo>
                <a:lnTo>
                  <a:pt x="9184" y="3231"/>
                </a:lnTo>
                <a:lnTo>
                  <a:pt x="9134" y="3288"/>
                </a:lnTo>
                <a:lnTo>
                  <a:pt x="9082" y="3343"/>
                </a:lnTo>
                <a:lnTo>
                  <a:pt x="9026" y="3397"/>
                </a:lnTo>
                <a:lnTo>
                  <a:pt x="8967" y="3451"/>
                </a:lnTo>
                <a:lnTo>
                  <a:pt x="8838" y="3564"/>
                </a:lnTo>
                <a:lnTo>
                  <a:pt x="8772" y="3614"/>
                </a:lnTo>
                <a:lnTo>
                  <a:pt x="8705" y="3663"/>
                </a:lnTo>
                <a:lnTo>
                  <a:pt x="8637" y="3711"/>
                </a:lnTo>
                <a:lnTo>
                  <a:pt x="8567" y="3758"/>
                </a:lnTo>
                <a:lnTo>
                  <a:pt x="8425" y="3847"/>
                </a:lnTo>
                <a:lnTo>
                  <a:pt x="8276" y="3931"/>
                </a:lnTo>
                <a:lnTo>
                  <a:pt x="8124" y="4009"/>
                </a:lnTo>
                <a:lnTo>
                  <a:pt x="8046" y="4046"/>
                </a:lnTo>
                <a:lnTo>
                  <a:pt x="7967" y="4082"/>
                </a:lnTo>
                <a:lnTo>
                  <a:pt x="7808" y="4149"/>
                </a:lnTo>
                <a:lnTo>
                  <a:pt x="7725" y="4181"/>
                </a:lnTo>
                <a:lnTo>
                  <a:pt x="7645" y="4212"/>
                </a:lnTo>
                <a:lnTo>
                  <a:pt x="7479" y="4267"/>
                </a:lnTo>
                <a:lnTo>
                  <a:pt x="7313" y="4318"/>
                </a:lnTo>
                <a:lnTo>
                  <a:pt x="7230" y="4342"/>
                </a:lnTo>
                <a:lnTo>
                  <a:pt x="7148" y="4365"/>
                </a:lnTo>
                <a:lnTo>
                  <a:pt x="6981" y="4405"/>
                </a:lnTo>
                <a:lnTo>
                  <a:pt x="6814" y="4441"/>
                </a:lnTo>
                <a:lnTo>
                  <a:pt x="6647" y="4473"/>
                </a:lnTo>
                <a:lnTo>
                  <a:pt x="6483" y="4500"/>
                </a:lnTo>
                <a:lnTo>
                  <a:pt x="6319" y="4523"/>
                </a:lnTo>
                <a:lnTo>
                  <a:pt x="6156" y="4542"/>
                </a:lnTo>
                <a:lnTo>
                  <a:pt x="5995" y="4556"/>
                </a:lnTo>
                <a:lnTo>
                  <a:pt x="5837" y="4567"/>
                </a:lnTo>
                <a:lnTo>
                  <a:pt x="5681" y="4575"/>
                </a:lnTo>
                <a:lnTo>
                  <a:pt x="5529" y="4578"/>
                </a:lnTo>
                <a:lnTo>
                  <a:pt x="5379" y="4578"/>
                </a:lnTo>
                <a:lnTo>
                  <a:pt x="5234" y="4576"/>
                </a:lnTo>
                <a:lnTo>
                  <a:pt x="5092" y="4570"/>
                </a:lnTo>
                <a:lnTo>
                  <a:pt x="4946" y="4561"/>
                </a:lnTo>
                <a:lnTo>
                  <a:pt x="4817" y="4550"/>
                </a:lnTo>
                <a:lnTo>
                  <a:pt x="4695" y="4538"/>
                </a:lnTo>
                <a:lnTo>
                  <a:pt x="4622" y="4531"/>
                </a:lnTo>
                <a:lnTo>
                  <a:pt x="4556" y="4522"/>
                </a:lnTo>
                <a:lnTo>
                  <a:pt x="4316" y="4485"/>
                </a:lnTo>
                <a:lnTo>
                  <a:pt x="4194" y="4463"/>
                </a:lnTo>
                <a:lnTo>
                  <a:pt x="4081" y="4441"/>
                </a:lnTo>
                <a:lnTo>
                  <a:pt x="3970" y="4416"/>
                </a:lnTo>
                <a:lnTo>
                  <a:pt x="3864" y="4391"/>
                </a:lnTo>
                <a:lnTo>
                  <a:pt x="3764" y="4364"/>
                </a:lnTo>
                <a:lnTo>
                  <a:pt x="3667" y="4336"/>
                </a:lnTo>
                <a:lnTo>
                  <a:pt x="3575" y="4307"/>
                </a:lnTo>
                <a:lnTo>
                  <a:pt x="3485" y="4278"/>
                </a:lnTo>
                <a:lnTo>
                  <a:pt x="3400" y="4247"/>
                </a:lnTo>
                <a:lnTo>
                  <a:pt x="3315" y="4215"/>
                </a:lnTo>
                <a:lnTo>
                  <a:pt x="3160" y="4152"/>
                </a:lnTo>
                <a:lnTo>
                  <a:pt x="3019" y="4087"/>
                </a:lnTo>
                <a:lnTo>
                  <a:pt x="2892" y="4022"/>
                </a:lnTo>
                <a:lnTo>
                  <a:pt x="2775" y="3955"/>
                </a:lnTo>
                <a:lnTo>
                  <a:pt x="2670" y="3889"/>
                </a:lnTo>
                <a:lnTo>
                  <a:pt x="2577" y="3824"/>
                </a:lnTo>
                <a:lnTo>
                  <a:pt x="2492" y="3759"/>
                </a:lnTo>
                <a:lnTo>
                  <a:pt x="2416" y="3697"/>
                </a:lnTo>
                <a:lnTo>
                  <a:pt x="2351" y="3636"/>
                </a:lnTo>
                <a:lnTo>
                  <a:pt x="2292" y="3579"/>
                </a:lnTo>
                <a:lnTo>
                  <a:pt x="2239" y="3524"/>
                </a:lnTo>
                <a:lnTo>
                  <a:pt x="2194" y="3472"/>
                </a:lnTo>
                <a:lnTo>
                  <a:pt x="2153" y="3422"/>
                </a:lnTo>
                <a:lnTo>
                  <a:pt x="2118" y="3374"/>
                </a:lnTo>
                <a:lnTo>
                  <a:pt x="2087" y="3330"/>
                </a:lnTo>
                <a:lnTo>
                  <a:pt x="2061" y="3287"/>
                </a:lnTo>
                <a:lnTo>
                  <a:pt x="2020" y="3210"/>
                </a:lnTo>
                <a:lnTo>
                  <a:pt x="1990" y="3143"/>
                </a:lnTo>
                <a:lnTo>
                  <a:pt x="1952" y="3043"/>
                </a:lnTo>
                <a:lnTo>
                  <a:pt x="1935" y="3004"/>
                </a:lnTo>
                <a:lnTo>
                  <a:pt x="1922" y="2974"/>
                </a:lnTo>
                <a:lnTo>
                  <a:pt x="1909" y="2955"/>
                </a:lnTo>
                <a:lnTo>
                  <a:pt x="1898" y="2942"/>
                </a:lnTo>
                <a:lnTo>
                  <a:pt x="1888" y="2937"/>
                </a:lnTo>
                <a:lnTo>
                  <a:pt x="1880" y="2939"/>
                </a:lnTo>
                <a:lnTo>
                  <a:pt x="1870" y="2945"/>
                </a:lnTo>
                <a:lnTo>
                  <a:pt x="1860" y="2953"/>
                </a:lnTo>
                <a:lnTo>
                  <a:pt x="1857" y="2961"/>
                </a:lnTo>
                <a:lnTo>
                  <a:pt x="1853" y="2971"/>
                </a:lnTo>
                <a:lnTo>
                  <a:pt x="1846" y="2990"/>
                </a:lnTo>
                <a:lnTo>
                  <a:pt x="1837" y="3039"/>
                </a:lnTo>
                <a:lnTo>
                  <a:pt x="1836" y="3069"/>
                </a:lnTo>
                <a:lnTo>
                  <a:pt x="1834" y="3101"/>
                </a:lnTo>
                <a:lnTo>
                  <a:pt x="1838" y="3168"/>
                </a:lnTo>
                <a:lnTo>
                  <a:pt x="1847" y="3242"/>
                </a:lnTo>
                <a:lnTo>
                  <a:pt x="1861" y="3316"/>
                </a:lnTo>
                <a:lnTo>
                  <a:pt x="1882" y="3391"/>
                </a:lnTo>
                <a:lnTo>
                  <a:pt x="1909" y="3461"/>
                </a:lnTo>
                <a:lnTo>
                  <a:pt x="1941" y="3527"/>
                </a:lnTo>
                <a:lnTo>
                  <a:pt x="1969" y="3581"/>
                </a:lnTo>
                <a:lnTo>
                  <a:pt x="2011" y="3659"/>
                </a:lnTo>
                <a:lnTo>
                  <a:pt x="2023" y="3681"/>
                </a:lnTo>
                <a:lnTo>
                  <a:pt x="2027" y="3693"/>
                </a:lnTo>
                <a:lnTo>
                  <a:pt x="2026" y="3694"/>
                </a:lnTo>
                <a:lnTo>
                  <a:pt x="2023" y="3693"/>
                </a:lnTo>
                <a:lnTo>
                  <a:pt x="2010" y="3684"/>
                </a:lnTo>
                <a:lnTo>
                  <a:pt x="1976" y="3654"/>
                </a:lnTo>
                <a:lnTo>
                  <a:pt x="1934" y="3612"/>
                </a:lnTo>
                <a:lnTo>
                  <a:pt x="1887" y="3559"/>
                </a:lnTo>
                <a:lnTo>
                  <a:pt x="1863" y="3529"/>
                </a:lnTo>
                <a:lnTo>
                  <a:pt x="1838" y="3495"/>
                </a:lnTo>
                <a:lnTo>
                  <a:pt x="1789" y="3419"/>
                </a:lnTo>
                <a:lnTo>
                  <a:pt x="1765" y="3376"/>
                </a:lnTo>
                <a:lnTo>
                  <a:pt x="1742" y="3332"/>
                </a:lnTo>
                <a:lnTo>
                  <a:pt x="1720" y="3284"/>
                </a:lnTo>
                <a:lnTo>
                  <a:pt x="1700" y="3233"/>
                </a:lnTo>
                <a:lnTo>
                  <a:pt x="1681" y="3180"/>
                </a:lnTo>
                <a:lnTo>
                  <a:pt x="1665" y="3124"/>
                </a:lnTo>
                <a:lnTo>
                  <a:pt x="1653" y="3064"/>
                </a:lnTo>
                <a:lnTo>
                  <a:pt x="1646" y="3004"/>
                </a:lnTo>
                <a:lnTo>
                  <a:pt x="1641" y="2944"/>
                </a:lnTo>
                <a:lnTo>
                  <a:pt x="1642" y="2882"/>
                </a:lnTo>
                <a:lnTo>
                  <a:pt x="1646" y="2821"/>
                </a:lnTo>
                <a:lnTo>
                  <a:pt x="1653" y="2760"/>
                </a:lnTo>
                <a:lnTo>
                  <a:pt x="1664" y="2698"/>
                </a:lnTo>
                <a:lnTo>
                  <a:pt x="1679" y="2638"/>
                </a:lnTo>
                <a:lnTo>
                  <a:pt x="1696" y="2578"/>
                </a:lnTo>
                <a:lnTo>
                  <a:pt x="1718" y="2518"/>
                </a:lnTo>
                <a:lnTo>
                  <a:pt x="1741" y="2460"/>
                </a:lnTo>
                <a:lnTo>
                  <a:pt x="1769" y="2403"/>
                </a:lnTo>
                <a:lnTo>
                  <a:pt x="1799" y="2346"/>
                </a:lnTo>
                <a:lnTo>
                  <a:pt x="1815" y="2319"/>
                </a:lnTo>
                <a:lnTo>
                  <a:pt x="1832" y="2292"/>
                </a:lnTo>
                <a:lnTo>
                  <a:pt x="1866" y="2240"/>
                </a:lnTo>
                <a:lnTo>
                  <a:pt x="1904" y="2189"/>
                </a:lnTo>
                <a:lnTo>
                  <a:pt x="1978" y="2102"/>
                </a:lnTo>
                <a:lnTo>
                  <a:pt x="2043" y="2027"/>
                </a:lnTo>
                <a:lnTo>
                  <a:pt x="2091" y="1970"/>
                </a:lnTo>
                <a:lnTo>
                  <a:pt x="2106" y="1950"/>
                </a:lnTo>
                <a:lnTo>
                  <a:pt x="2109" y="1942"/>
                </a:lnTo>
                <a:lnTo>
                  <a:pt x="2112" y="1935"/>
                </a:lnTo>
                <a:lnTo>
                  <a:pt x="2113" y="1928"/>
                </a:lnTo>
                <a:lnTo>
                  <a:pt x="2113" y="1922"/>
                </a:lnTo>
                <a:lnTo>
                  <a:pt x="2109" y="1917"/>
                </a:lnTo>
                <a:lnTo>
                  <a:pt x="2104" y="1915"/>
                </a:lnTo>
                <a:lnTo>
                  <a:pt x="2086" y="1915"/>
                </a:lnTo>
                <a:lnTo>
                  <a:pt x="2056" y="1922"/>
                </a:lnTo>
                <a:lnTo>
                  <a:pt x="2016" y="1938"/>
                </a:lnTo>
                <a:lnTo>
                  <a:pt x="1963" y="1964"/>
                </a:lnTo>
                <a:lnTo>
                  <a:pt x="1899" y="2000"/>
                </a:lnTo>
                <a:lnTo>
                  <a:pt x="1823" y="2048"/>
                </a:lnTo>
                <a:lnTo>
                  <a:pt x="1785" y="2074"/>
                </a:lnTo>
                <a:lnTo>
                  <a:pt x="1742" y="2105"/>
                </a:lnTo>
                <a:lnTo>
                  <a:pt x="1697" y="2141"/>
                </a:lnTo>
                <a:lnTo>
                  <a:pt x="1649" y="2183"/>
                </a:lnTo>
                <a:lnTo>
                  <a:pt x="1600" y="2231"/>
                </a:lnTo>
                <a:lnTo>
                  <a:pt x="1550" y="2281"/>
                </a:lnTo>
                <a:lnTo>
                  <a:pt x="1502" y="2335"/>
                </a:lnTo>
                <a:lnTo>
                  <a:pt x="1454" y="2394"/>
                </a:lnTo>
                <a:lnTo>
                  <a:pt x="1431" y="2426"/>
                </a:lnTo>
                <a:lnTo>
                  <a:pt x="1409" y="2460"/>
                </a:lnTo>
                <a:lnTo>
                  <a:pt x="1365" y="2531"/>
                </a:lnTo>
                <a:lnTo>
                  <a:pt x="1343" y="2569"/>
                </a:lnTo>
                <a:lnTo>
                  <a:pt x="1323" y="2609"/>
                </a:lnTo>
                <a:lnTo>
                  <a:pt x="1305" y="2649"/>
                </a:lnTo>
                <a:lnTo>
                  <a:pt x="1287" y="2692"/>
                </a:lnTo>
                <a:lnTo>
                  <a:pt x="1273" y="2736"/>
                </a:lnTo>
                <a:lnTo>
                  <a:pt x="1259" y="2783"/>
                </a:lnTo>
                <a:lnTo>
                  <a:pt x="1247" y="2831"/>
                </a:lnTo>
                <a:lnTo>
                  <a:pt x="1238" y="2881"/>
                </a:lnTo>
                <a:lnTo>
                  <a:pt x="1232" y="2932"/>
                </a:lnTo>
                <a:lnTo>
                  <a:pt x="1229" y="2986"/>
                </a:lnTo>
                <a:lnTo>
                  <a:pt x="1229" y="3043"/>
                </a:lnTo>
                <a:lnTo>
                  <a:pt x="1231" y="3102"/>
                </a:lnTo>
                <a:lnTo>
                  <a:pt x="1235" y="3161"/>
                </a:lnTo>
                <a:lnTo>
                  <a:pt x="1245" y="3222"/>
                </a:lnTo>
                <a:lnTo>
                  <a:pt x="1249" y="3253"/>
                </a:lnTo>
                <a:lnTo>
                  <a:pt x="1257" y="3284"/>
                </a:lnTo>
                <a:lnTo>
                  <a:pt x="1274" y="3348"/>
                </a:lnTo>
                <a:lnTo>
                  <a:pt x="1297" y="3413"/>
                </a:lnTo>
                <a:lnTo>
                  <a:pt x="1324" y="3481"/>
                </a:lnTo>
                <a:lnTo>
                  <a:pt x="1357" y="3548"/>
                </a:lnTo>
                <a:lnTo>
                  <a:pt x="1376" y="3584"/>
                </a:lnTo>
                <a:lnTo>
                  <a:pt x="1397" y="3618"/>
                </a:lnTo>
                <a:lnTo>
                  <a:pt x="1441" y="3688"/>
                </a:lnTo>
                <a:lnTo>
                  <a:pt x="1492" y="3760"/>
                </a:lnTo>
                <a:lnTo>
                  <a:pt x="1550" y="3833"/>
                </a:lnTo>
                <a:lnTo>
                  <a:pt x="1614" y="3905"/>
                </a:lnTo>
                <a:lnTo>
                  <a:pt x="1686" y="3980"/>
                </a:lnTo>
                <a:lnTo>
                  <a:pt x="1765" y="4053"/>
                </a:lnTo>
                <a:lnTo>
                  <a:pt x="1808" y="4091"/>
                </a:lnTo>
                <a:lnTo>
                  <a:pt x="1852" y="4128"/>
                </a:lnTo>
                <a:lnTo>
                  <a:pt x="1946" y="4204"/>
                </a:lnTo>
                <a:lnTo>
                  <a:pt x="1999" y="4241"/>
                </a:lnTo>
                <a:lnTo>
                  <a:pt x="2053" y="4279"/>
                </a:lnTo>
                <a:lnTo>
                  <a:pt x="2109" y="4317"/>
                </a:lnTo>
                <a:lnTo>
                  <a:pt x="2167" y="4354"/>
                </a:lnTo>
                <a:lnTo>
                  <a:pt x="2291" y="4429"/>
                </a:lnTo>
                <a:lnTo>
                  <a:pt x="2422" y="4501"/>
                </a:lnTo>
                <a:lnTo>
                  <a:pt x="2492" y="4537"/>
                </a:lnTo>
                <a:lnTo>
                  <a:pt x="2563" y="4572"/>
                </a:lnTo>
                <a:lnTo>
                  <a:pt x="2637" y="4608"/>
                </a:lnTo>
                <a:lnTo>
                  <a:pt x="2714" y="4642"/>
                </a:lnTo>
                <a:lnTo>
                  <a:pt x="2792" y="4675"/>
                </a:lnTo>
                <a:lnTo>
                  <a:pt x="2873" y="4708"/>
                </a:lnTo>
                <a:lnTo>
                  <a:pt x="3043" y="4772"/>
                </a:lnTo>
                <a:lnTo>
                  <a:pt x="3130" y="4803"/>
                </a:lnTo>
                <a:lnTo>
                  <a:pt x="3222" y="4833"/>
                </a:lnTo>
                <a:lnTo>
                  <a:pt x="3315" y="4862"/>
                </a:lnTo>
                <a:lnTo>
                  <a:pt x="3411" y="4890"/>
                </a:lnTo>
                <a:lnTo>
                  <a:pt x="3609" y="4943"/>
                </a:lnTo>
                <a:lnTo>
                  <a:pt x="3820" y="4992"/>
                </a:lnTo>
                <a:lnTo>
                  <a:pt x="3929" y="5014"/>
                </a:lnTo>
                <a:lnTo>
                  <a:pt x="4041" y="5036"/>
                </a:lnTo>
                <a:lnTo>
                  <a:pt x="4155" y="5055"/>
                </a:lnTo>
                <a:lnTo>
                  <a:pt x="4273" y="5074"/>
                </a:lnTo>
                <a:lnTo>
                  <a:pt x="4393" y="5091"/>
                </a:lnTo>
                <a:lnTo>
                  <a:pt x="4516" y="5107"/>
                </a:lnTo>
                <a:lnTo>
                  <a:pt x="4771" y="5133"/>
                </a:lnTo>
                <a:lnTo>
                  <a:pt x="4624" y="5120"/>
                </a:lnTo>
                <a:lnTo>
                  <a:pt x="4479" y="5106"/>
                </a:lnTo>
                <a:lnTo>
                  <a:pt x="4338" y="5089"/>
                </a:lnTo>
                <a:lnTo>
                  <a:pt x="4200" y="5070"/>
                </a:lnTo>
                <a:lnTo>
                  <a:pt x="4066" y="5049"/>
                </a:lnTo>
                <a:lnTo>
                  <a:pt x="3933" y="5026"/>
                </a:lnTo>
                <a:lnTo>
                  <a:pt x="3804" y="5002"/>
                </a:lnTo>
                <a:lnTo>
                  <a:pt x="3679" y="4976"/>
                </a:lnTo>
                <a:lnTo>
                  <a:pt x="3438" y="4917"/>
                </a:lnTo>
                <a:lnTo>
                  <a:pt x="3208" y="4853"/>
                </a:lnTo>
                <a:lnTo>
                  <a:pt x="3098" y="4819"/>
                </a:lnTo>
                <a:lnTo>
                  <a:pt x="2991" y="4783"/>
                </a:lnTo>
                <a:lnTo>
                  <a:pt x="2887" y="4746"/>
                </a:lnTo>
                <a:lnTo>
                  <a:pt x="2786" y="4708"/>
                </a:lnTo>
                <a:lnTo>
                  <a:pt x="2688" y="4669"/>
                </a:lnTo>
                <a:lnTo>
                  <a:pt x="2592" y="4630"/>
                </a:lnTo>
                <a:lnTo>
                  <a:pt x="2500" y="4588"/>
                </a:lnTo>
                <a:lnTo>
                  <a:pt x="2411" y="4545"/>
                </a:lnTo>
                <a:lnTo>
                  <a:pt x="2325" y="4502"/>
                </a:lnTo>
                <a:lnTo>
                  <a:pt x="2242" y="4458"/>
                </a:lnTo>
                <a:lnTo>
                  <a:pt x="2162" y="4414"/>
                </a:lnTo>
                <a:lnTo>
                  <a:pt x="2083" y="4369"/>
                </a:lnTo>
                <a:lnTo>
                  <a:pt x="2009" y="4322"/>
                </a:lnTo>
                <a:lnTo>
                  <a:pt x="1938" y="4275"/>
                </a:lnTo>
                <a:lnTo>
                  <a:pt x="1869" y="4228"/>
                </a:lnTo>
                <a:lnTo>
                  <a:pt x="1803" y="4181"/>
                </a:lnTo>
                <a:lnTo>
                  <a:pt x="1739" y="4132"/>
                </a:lnTo>
                <a:lnTo>
                  <a:pt x="1679" y="4084"/>
                </a:lnTo>
                <a:lnTo>
                  <a:pt x="1621" y="4035"/>
                </a:lnTo>
                <a:lnTo>
                  <a:pt x="1566" y="3987"/>
                </a:lnTo>
                <a:lnTo>
                  <a:pt x="1516" y="3938"/>
                </a:lnTo>
                <a:lnTo>
                  <a:pt x="1468" y="3889"/>
                </a:lnTo>
                <a:lnTo>
                  <a:pt x="1381" y="3792"/>
                </a:lnTo>
                <a:lnTo>
                  <a:pt x="1341" y="3743"/>
                </a:lnTo>
                <a:lnTo>
                  <a:pt x="1305" y="3695"/>
                </a:lnTo>
                <a:lnTo>
                  <a:pt x="1238" y="3598"/>
                </a:lnTo>
                <a:lnTo>
                  <a:pt x="1209" y="3551"/>
                </a:lnTo>
                <a:lnTo>
                  <a:pt x="1182" y="3503"/>
                </a:lnTo>
                <a:lnTo>
                  <a:pt x="1157" y="3455"/>
                </a:lnTo>
                <a:lnTo>
                  <a:pt x="1135" y="3407"/>
                </a:lnTo>
                <a:lnTo>
                  <a:pt x="1115" y="3361"/>
                </a:lnTo>
                <a:lnTo>
                  <a:pt x="1097" y="3314"/>
                </a:lnTo>
                <a:lnTo>
                  <a:pt x="1068" y="3221"/>
                </a:lnTo>
                <a:lnTo>
                  <a:pt x="1056" y="3175"/>
                </a:lnTo>
                <a:lnTo>
                  <a:pt x="1046" y="3130"/>
                </a:lnTo>
                <a:lnTo>
                  <a:pt x="1038" y="3085"/>
                </a:lnTo>
                <a:lnTo>
                  <a:pt x="1032" y="3039"/>
                </a:lnTo>
                <a:lnTo>
                  <a:pt x="1029" y="2995"/>
                </a:lnTo>
                <a:lnTo>
                  <a:pt x="1026" y="2951"/>
                </a:lnTo>
                <a:lnTo>
                  <a:pt x="1026" y="2908"/>
                </a:lnTo>
                <a:lnTo>
                  <a:pt x="1027" y="2865"/>
                </a:lnTo>
                <a:lnTo>
                  <a:pt x="1035" y="2780"/>
                </a:lnTo>
                <a:lnTo>
                  <a:pt x="1050" y="2698"/>
                </a:lnTo>
                <a:lnTo>
                  <a:pt x="1069" y="2619"/>
                </a:lnTo>
                <a:lnTo>
                  <a:pt x="1094" y="2541"/>
                </a:lnTo>
                <a:lnTo>
                  <a:pt x="1124" y="2464"/>
                </a:lnTo>
                <a:lnTo>
                  <a:pt x="1159" y="2390"/>
                </a:lnTo>
                <a:lnTo>
                  <a:pt x="1197" y="2319"/>
                </a:lnTo>
                <a:lnTo>
                  <a:pt x="1238" y="2251"/>
                </a:lnTo>
                <a:lnTo>
                  <a:pt x="1284" y="2186"/>
                </a:lnTo>
                <a:lnTo>
                  <a:pt x="1332" y="2123"/>
                </a:lnTo>
                <a:lnTo>
                  <a:pt x="1357" y="2092"/>
                </a:lnTo>
                <a:lnTo>
                  <a:pt x="1383" y="2063"/>
                </a:lnTo>
                <a:lnTo>
                  <a:pt x="1436" y="2005"/>
                </a:lnTo>
                <a:lnTo>
                  <a:pt x="1492" y="1950"/>
                </a:lnTo>
                <a:lnTo>
                  <a:pt x="1550" y="1897"/>
                </a:lnTo>
                <a:lnTo>
                  <a:pt x="1610" y="1847"/>
                </a:lnTo>
                <a:lnTo>
                  <a:pt x="1673" y="1799"/>
                </a:lnTo>
                <a:lnTo>
                  <a:pt x="1735" y="1753"/>
                </a:lnTo>
                <a:lnTo>
                  <a:pt x="1800" y="1710"/>
                </a:lnTo>
                <a:lnTo>
                  <a:pt x="1866" y="1668"/>
                </a:lnTo>
                <a:lnTo>
                  <a:pt x="1933" y="1628"/>
                </a:lnTo>
                <a:lnTo>
                  <a:pt x="2000" y="1588"/>
                </a:lnTo>
                <a:lnTo>
                  <a:pt x="2068" y="1551"/>
                </a:lnTo>
                <a:lnTo>
                  <a:pt x="2201" y="1484"/>
                </a:lnTo>
                <a:lnTo>
                  <a:pt x="2332" y="1425"/>
                </a:lnTo>
                <a:lnTo>
                  <a:pt x="2461" y="1372"/>
                </a:lnTo>
                <a:lnTo>
                  <a:pt x="2588" y="1327"/>
                </a:lnTo>
                <a:lnTo>
                  <a:pt x="2711" y="1287"/>
                </a:lnTo>
                <a:lnTo>
                  <a:pt x="2830" y="1250"/>
                </a:lnTo>
                <a:lnTo>
                  <a:pt x="2946" y="1218"/>
                </a:lnTo>
                <a:lnTo>
                  <a:pt x="3061" y="1190"/>
                </a:lnTo>
                <a:lnTo>
                  <a:pt x="3170" y="1165"/>
                </a:lnTo>
                <a:lnTo>
                  <a:pt x="3273" y="1143"/>
                </a:lnTo>
                <a:lnTo>
                  <a:pt x="3370" y="1125"/>
                </a:lnTo>
                <a:lnTo>
                  <a:pt x="3463" y="1109"/>
                </a:lnTo>
                <a:lnTo>
                  <a:pt x="3550" y="1095"/>
                </a:lnTo>
                <a:lnTo>
                  <a:pt x="3631" y="1083"/>
                </a:lnTo>
                <a:lnTo>
                  <a:pt x="3707" y="1073"/>
                </a:lnTo>
                <a:lnTo>
                  <a:pt x="3846" y="1058"/>
                </a:lnTo>
                <a:lnTo>
                  <a:pt x="3907" y="1054"/>
                </a:lnTo>
                <a:lnTo>
                  <a:pt x="3964" y="1050"/>
                </a:lnTo>
                <a:lnTo>
                  <a:pt x="4143" y="1040"/>
                </a:lnTo>
                <a:lnTo>
                  <a:pt x="4268" y="1029"/>
                </a:lnTo>
                <a:lnTo>
                  <a:pt x="4324" y="1020"/>
                </a:lnTo>
                <a:lnTo>
                  <a:pt x="4330" y="1018"/>
                </a:lnTo>
                <a:lnTo>
                  <a:pt x="4333" y="1016"/>
                </a:lnTo>
                <a:lnTo>
                  <a:pt x="4333" y="1013"/>
                </a:lnTo>
                <a:lnTo>
                  <a:pt x="4332" y="1011"/>
                </a:lnTo>
                <a:lnTo>
                  <a:pt x="4321" y="1006"/>
                </a:lnTo>
                <a:lnTo>
                  <a:pt x="4305" y="1000"/>
                </a:lnTo>
                <a:lnTo>
                  <a:pt x="4235" y="989"/>
                </a:lnTo>
                <a:lnTo>
                  <a:pt x="4144" y="979"/>
                </a:lnTo>
                <a:lnTo>
                  <a:pt x="4035" y="971"/>
                </a:lnTo>
                <a:lnTo>
                  <a:pt x="3911" y="966"/>
                </a:lnTo>
                <a:lnTo>
                  <a:pt x="3779" y="964"/>
                </a:lnTo>
                <a:lnTo>
                  <a:pt x="3639" y="965"/>
                </a:lnTo>
                <a:lnTo>
                  <a:pt x="3498" y="970"/>
                </a:lnTo>
                <a:lnTo>
                  <a:pt x="3357" y="979"/>
                </a:lnTo>
                <a:lnTo>
                  <a:pt x="3231" y="990"/>
                </a:lnTo>
                <a:lnTo>
                  <a:pt x="3119" y="1002"/>
                </a:lnTo>
                <a:lnTo>
                  <a:pt x="2937" y="1027"/>
                </a:lnTo>
                <a:lnTo>
                  <a:pt x="2875" y="1034"/>
                </a:lnTo>
                <a:lnTo>
                  <a:pt x="2834" y="1039"/>
                </a:lnTo>
                <a:lnTo>
                  <a:pt x="2823" y="1039"/>
                </a:lnTo>
                <a:lnTo>
                  <a:pt x="2813" y="1039"/>
                </a:lnTo>
                <a:lnTo>
                  <a:pt x="2821" y="1034"/>
                </a:lnTo>
                <a:lnTo>
                  <a:pt x="2814" y="1035"/>
                </a:lnTo>
                <a:lnTo>
                  <a:pt x="2855" y="1020"/>
                </a:lnTo>
                <a:lnTo>
                  <a:pt x="2904" y="1007"/>
                </a:lnTo>
                <a:lnTo>
                  <a:pt x="3070" y="970"/>
                </a:lnTo>
                <a:lnTo>
                  <a:pt x="3181" y="951"/>
                </a:lnTo>
                <a:lnTo>
                  <a:pt x="3332" y="925"/>
                </a:lnTo>
                <a:lnTo>
                  <a:pt x="3495" y="904"/>
                </a:lnTo>
                <a:lnTo>
                  <a:pt x="3585" y="894"/>
                </a:lnTo>
                <a:lnTo>
                  <a:pt x="3680" y="886"/>
                </a:lnTo>
                <a:lnTo>
                  <a:pt x="3879" y="876"/>
                </a:lnTo>
                <a:lnTo>
                  <a:pt x="3987" y="871"/>
                </a:lnTo>
                <a:lnTo>
                  <a:pt x="4100" y="868"/>
                </a:lnTo>
                <a:lnTo>
                  <a:pt x="4326" y="868"/>
                </a:lnTo>
                <a:lnTo>
                  <a:pt x="4435" y="872"/>
                </a:lnTo>
                <a:lnTo>
                  <a:pt x="4539" y="878"/>
                </a:lnTo>
                <a:lnTo>
                  <a:pt x="4659" y="886"/>
                </a:lnTo>
                <a:lnTo>
                  <a:pt x="4772" y="895"/>
                </a:lnTo>
                <a:lnTo>
                  <a:pt x="4877" y="906"/>
                </a:lnTo>
                <a:lnTo>
                  <a:pt x="4979" y="919"/>
                </a:lnTo>
                <a:lnTo>
                  <a:pt x="5077" y="933"/>
                </a:lnTo>
                <a:lnTo>
                  <a:pt x="5174" y="949"/>
                </a:lnTo>
                <a:lnTo>
                  <a:pt x="5368" y="986"/>
                </a:lnTo>
                <a:lnTo>
                  <a:pt x="5531" y="1020"/>
                </a:lnTo>
                <a:lnTo>
                  <a:pt x="5672" y="1054"/>
                </a:lnTo>
                <a:lnTo>
                  <a:pt x="5784" y="1078"/>
                </a:lnTo>
                <a:lnTo>
                  <a:pt x="5827" y="1085"/>
                </a:lnTo>
                <a:lnTo>
                  <a:pt x="5861" y="1089"/>
                </a:lnTo>
                <a:lnTo>
                  <a:pt x="5882" y="1088"/>
                </a:lnTo>
                <a:lnTo>
                  <a:pt x="5888" y="1085"/>
                </a:lnTo>
                <a:lnTo>
                  <a:pt x="5892" y="1083"/>
                </a:lnTo>
                <a:lnTo>
                  <a:pt x="5893" y="1078"/>
                </a:lnTo>
                <a:lnTo>
                  <a:pt x="5889" y="1072"/>
                </a:lnTo>
                <a:lnTo>
                  <a:pt x="5883" y="1065"/>
                </a:lnTo>
                <a:lnTo>
                  <a:pt x="5873" y="1055"/>
                </a:lnTo>
                <a:lnTo>
                  <a:pt x="5840" y="1034"/>
                </a:lnTo>
                <a:lnTo>
                  <a:pt x="5789" y="1006"/>
                </a:lnTo>
                <a:lnTo>
                  <a:pt x="5718" y="973"/>
                </a:lnTo>
                <a:lnTo>
                  <a:pt x="5624" y="932"/>
                </a:lnTo>
                <a:lnTo>
                  <a:pt x="5499" y="888"/>
                </a:lnTo>
                <a:lnTo>
                  <a:pt x="5345" y="839"/>
                </a:lnTo>
                <a:lnTo>
                  <a:pt x="5254" y="814"/>
                </a:lnTo>
                <a:lnTo>
                  <a:pt x="5153" y="790"/>
                </a:lnTo>
                <a:lnTo>
                  <a:pt x="5041" y="765"/>
                </a:lnTo>
                <a:lnTo>
                  <a:pt x="4916" y="743"/>
                </a:lnTo>
                <a:lnTo>
                  <a:pt x="4783" y="722"/>
                </a:lnTo>
                <a:lnTo>
                  <a:pt x="4712" y="713"/>
                </a:lnTo>
                <a:lnTo>
                  <a:pt x="4638" y="703"/>
                </a:lnTo>
                <a:lnTo>
                  <a:pt x="4485" y="687"/>
                </a:lnTo>
                <a:lnTo>
                  <a:pt x="4321" y="675"/>
                </a:lnTo>
                <a:lnTo>
                  <a:pt x="4145" y="665"/>
                </a:lnTo>
                <a:lnTo>
                  <a:pt x="3960" y="661"/>
                </a:lnTo>
                <a:lnTo>
                  <a:pt x="3764" y="661"/>
                </a:lnTo>
                <a:lnTo>
                  <a:pt x="3557" y="666"/>
                </a:lnTo>
                <a:lnTo>
                  <a:pt x="3327" y="683"/>
                </a:lnTo>
                <a:lnTo>
                  <a:pt x="3094" y="708"/>
                </a:lnTo>
                <a:lnTo>
                  <a:pt x="2976" y="722"/>
                </a:lnTo>
                <a:lnTo>
                  <a:pt x="2856" y="740"/>
                </a:lnTo>
                <a:lnTo>
                  <a:pt x="2736" y="760"/>
                </a:lnTo>
                <a:lnTo>
                  <a:pt x="2615" y="783"/>
                </a:lnTo>
                <a:lnTo>
                  <a:pt x="2491" y="809"/>
                </a:lnTo>
                <a:lnTo>
                  <a:pt x="2366" y="839"/>
                </a:lnTo>
                <a:lnTo>
                  <a:pt x="2239" y="872"/>
                </a:lnTo>
                <a:lnTo>
                  <a:pt x="2112" y="910"/>
                </a:lnTo>
                <a:lnTo>
                  <a:pt x="1982" y="952"/>
                </a:lnTo>
                <a:lnTo>
                  <a:pt x="1915" y="974"/>
                </a:lnTo>
                <a:lnTo>
                  <a:pt x="1849" y="997"/>
                </a:lnTo>
                <a:lnTo>
                  <a:pt x="1716" y="1047"/>
                </a:lnTo>
                <a:lnTo>
                  <a:pt x="1579" y="1104"/>
                </a:lnTo>
                <a:lnTo>
                  <a:pt x="1513" y="1133"/>
                </a:lnTo>
                <a:lnTo>
                  <a:pt x="1447" y="1163"/>
                </a:lnTo>
                <a:lnTo>
                  <a:pt x="1317" y="1226"/>
                </a:lnTo>
                <a:lnTo>
                  <a:pt x="1192" y="1293"/>
                </a:lnTo>
                <a:lnTo>
                  <a:pt x="1074" y="1359"/>
                </a:lnTo>
                <a:lnTo>
                  <a:pt x="1013" y="1396"/>
                </a:lnTo>
                <a:lnTo>
                  <a:pt x="953" y="1435"/>
                </a:lnTo>
                <a:lnTo>
                  <a:pt x="893" y="1475"/>
                </a:lnTo>
                <a:lnTo>
                  <a:pt x="832" y="1518"/>
                </a:lnTo>
                <a:lnTo>
                  <a:pt x="720" y="1604"/>
                </a:lnTo>
                <a:lnTo>
                  <a:pt x="615" y="1685"/>
                </a:lnTo>
                <a:lnTo>
                  <a:pt x="507" y="1786"/>
                </a:lnTo>
                <a:lnTo>
                  <a:pt x="458" y="1834"/>
                </a:lnTo>
                <a:lnTo>
                  <a:pt x="412" y="1881"/>
                </a:lnTo>
                <a:lnTo>
                  <a:pt x="366" y="1930"/>
                </a:lnTo>
                <a:lnTo>
                  <a:pt x="325" y="1980"/>
                </a:lnTo>
                <a:lnTo>
                  <a:pt x="283" y="2033"/>
                </a:lnTo>
                <a:lnTo>
                  <a:pt x="242" y="2090"/>
                </a:lnTo>
                <a:lnTo>
                  <a:pt x="164" y="2216"/>
                </a:lnTo>
                <a:lnTo>
                  <a:pt x="101" y="2319"/>
                </a:lnTo>
                <a:lnTo>
                  <a:pt x="74" y="2368"/>
                </a:lnTo>
                <a:lnTo>
                  <a:pt x="47" y="2426"/>
                </a:lnTo>
                <a:lnTo>
                  <a:pt x="22" y="2492"/>
                </a:lnTo>
                <a:lnTo>
                  <a:pt x="11" y="2528"/>
                </a:lnTo>
                <a:lnTo>
                  <a:pt x="0" y="2566"/>
                </a:lnTo>
                <a:close/>
              </a:path>
            </a:pathLst>
          </a:custGeom>
          <a:solidFill>
            <a:srgbClr val="FFE600"/>
          </a:solidFill>
          <a:ln w="9525">
            <a:noFill/>
            <a:round/>
            <a:headEnd/>
            <a:tailEnd/>
          </a:ln>
        </p:spPr>
        <p:txBody>
          <a:bodyPr/>
          <a:lstStyle/>
          <a:p>
            <a:endParaRPr lang="en-US"/>
          </a:p>
        </p:txBody>
      </p:sp>
      <p:sp>
        <p:nvSpPr>
          <p:cNvPr id="4" name="Rectangle 914">
            <a:extLst>
              <a:ext uri="{FF2B5EF4-FFF2-40B4-BE49-F238E27FC236}">
                <a16:creationId xmlns:a16="http://schemas.microsoft.com/office/drawing/2014/main" id="{8918B6F9-19D3-622B-8455-B1CDE6F1A114}"/>
              </a:ext>
            </a:extLst>
          </p:cNvPr>
          <p:cNvSpPr/>
          <p:nvPr/>
        </p:nvSpPr>
        <p:spPr>
          <a:xfrm>
            <a:off x="5328644" y="3543365"/>
            <a:ext cx="1606915" cy="492443"/>
          </a:xfrm>
          <a:prstGeom prst="rect">
            <a:avLst/>
          </a:prstGeom>
        </p:spPr>
        <p:txBody>
          <a:bodyPr wrap="none" lIns="0" tIns="0" rIns="0" bIns="0">
            <a:spAutoFit/>
          </a:bodyPr>
          <a:lstStyle/>
          <a:p>
            <a:pPr marL="3047" algn="ctr"/>
            <a:r>
              <a:rPr lang="en-US" sz="1600" b="1" dirty="0">
                <a:solidFill>
                  <a:schemeClr val="bg1"/>
                </a:solidFill>
                <a:latin typeface="+mj-lt"/>
              </a:rPr>
              <a:t>Blockchain Risk </a:t>
            </a:r>
          </a:p>
          <a:p>
            <a:pPr marL="3047" algn="ctr"/>
            <a:r>
              <a:rPr lang="en-US" sz="1600" b="1" dirty="0">
                <a:solidFill>
                  <a:schemeClr val="bg1"/>
                </a:solidFill>
                <a:latin typeface="+mj-lt"/>
              </a:rPr>
              <a:t>Universe</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dirty="0"/>
              <a:t>Smart Contracts explained</a:t>
            </a:r>
          </a:p>
        </p:txBody>
      </p:sp>
      <p:pic>
        <p:nvPicPr>
          <p:cNvPr id="3" name="Picture 2" descr="NOREA | NOREA">
            <a:extLst>
              <a:ext uri="{FF2B5EF4-FFF2-40B4-BE49-F238E27FC236}">
                <a16:creationId xmlns:a16="http://schemas.microsoft.com/office/drawing/2014/main" id="{3F7AD043-8AFA-9724-CA8A-C157C64FB8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8191" y="5700814"/>
            <a:ext cx="2657475"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618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9F1320-66DA-1E06-152B-76E3931F151A}"/>
              </a:ext>
            </a:extLst>
          </p:cNvPr>
          <p:cNvSpPr>
            <a:spLocks noGrp="1"/>
          </p:cNvSpPr>
          <p:nvPr>
            <p:ph type="title"/>
          </p:nvPr>
        </p:nvSpPr>
        <p:spPr/>
        <p:txBody>
          <a:bodyPr/>
          <a:lstStyle/>
          <a:p>
            <a:r>
              <a:rPr lang="en-US" dirty="0"/>
              <a:t>What are smart contracts and how do they work?</a:t>
            </a:r>
          </a:p>
        </p:txBody>
      </p:sp>
      <p:sp>
        <p:nvSpPr>
          <p:cNvPr id="5" name="Content Placeholder 4">
            <a:extLst>
              <a:ext uri="{FF2B5EF4-FFF2-40B4-BE49-F238E27FC236}">
                <a16:creationId xmlns:a16="http://schemas.microsoft.com/office/drawing/2014/main" id="{9272F675-A637-E33D-E2BD-C67AB063E3AE}"/>
              </a:ext>
            </a:extLst>
          </p:cNvPr>
          <p:cNvSpPr>
            <a:spLocks noGrp="1"/>
          </p:cNvSpPr>
          <p:nvPr>
            <p:ph idx="1"/>
          </p:nvPr>
        </p:nvSpPr>
        <p:spPr>
          <a:xfrm>
            <a:off x="609917" y="1137920"/>
            <a:ext cx="10978515" cy="4834800"/>
          </a:xfrm>
        </p:spPr>
        <p:txBody>
          <a:bodyPr/>
          <a:lstStyle/>
          <a:p>
            <a:r>
              <a:rPr lang="nl-NL" dirty="0"/>
              <a:t>Definition 1 (</a:t>
            </a:r>
            <a:r>
              <a:rPr lang="nl-NL" dirty="0" err="1"/>
              <a:t>Szabo</a:t>
            </a:r>
            <a:r>
              <a:rPr lang="nl-NL" dirty="0"/>
              <a:t>, 1992):</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A smart contract is </a:t>
            </a:r>
            <a:r>
              <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rPr>
              <a:t>a computerized transaction protocol </a:t>
            </a:r>
            <a:r>
              <a:rPr lang="en-US" sz="180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rPr>
              <a:t>that executes the terms of a contract</a:t>
            </a:r>
            <a:r>
              <a:rPr lang="en-US" sz="1800" dirty="0">
                <a:effectLst/>
                <a:latin typeface="Calibri" panose="020F0502020204030204" pitchFamily="34" charset="0"/>
                <a:ea typeface="Calibri" panose="020F0502020204030204" pitchFamily="34" charset="0"/>
                <a:cs typeface="Times New Roman" panose="02020603050405020304" pitchFamily="18" charset="0"/>
              </a:rPr>
              <a:t>. The general objectives of the smart contract design are to satisfy common contractual conditions (such as payment terms, liens, confidentiality and even enforcement), minimize exceptions both malicious and accidental, and minimize the need for arbitration and enforcement costs, and other transaction costs.</a:t>
            </a:r>
          </a:p>
          <a:p>
            <a:endParaRPr lang="en-US" sz="1800" dirty="0">
              <a:latin typeface="Calibri" panose="020F0502020204030204" pitchFamily="34" charset="0"/>
              <a:cs typeface="Times New Roman" panose="02020603050405020304" pitchFamily="18" charset="0"/>
            </a:endParaRPr>
          </a:p>
          <a:p>
            <a:r>
              <a:rPr lang="en-US" dirty="0"/>
              <a:t>Definition 2 (Lee, 2023):</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A smart contract is essentially </a:t>
            </a:r>
            <a:r>
              <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rPr>
              <a:t>an application </a:t>
            </a:r>
            <a:r>
              <a:rPr lang="en-US" sz="1800" dirty="0">
                <a:effectLst/>
                <a:latin typeface="Calibri" panose="020F0502020204030204" pitchFamily="34" charset="0"/>
                <a:ea typeface="Calibri" panose="020F0502020204030204" pitchFamily="34" charset="0"/>
                <a:cs typeface="Times New Roman" panose="02020603050405020304" pitchFamily="18" charset="0"/>
              </a:rPr>
              <a:t>residing on the blockchain that can </a:t>
            </a:r>
            <a:r>
              <a:rPr lang="en-US" sz="180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rPr>
              <a:t>write values onto the blockchain itself</a:t>
            </a:r>
            <a:r>
              <a:rPr lang="en-US" sz="1800" dirty="0">
                <a:effectLst/>
                <a:latin typeface="Calibri" panose="020F0502020204030204" pitchFamily="34" charset="0"/>
                <a:ea typeface="Calibri" panose="020F0502020204030204" pitchFamily="34" charset="0"/>
                <a:cs typeface="Times New Roman" panose="02020603050405020304" pitchFamily="18" charset="0"/>
              </a:rPr>
              <a:t>.  As all the data recorded on the blockchain are immutable and traceable, smart contracts allow you to make use of blockchains as a backing store for storing data that are permanent so that you can use it as a form of proof later on.</a:t>
            </a:r>
            <a:endParaRPr lang="nl-NL" dirty="0"/>
          </a:p>
        </p:txBody>
      </p:sp>
      <p:pic>
        <p:nvPicPr>
          <p:cNvPr id="2" name="Picture 2" descr="NOREA | NOREA">
            <a:extLst>
              <a:ext uri="{FF2B5EF4-FFF2-40B4-BE49-F238E27FC236}">
                <a16:creationId xmlns:a16="http://schemas.microsoft.com/office/drawing/2014/main" id="{EBA2C66F-5D1E-03F8-DD96-F8CBCBFCF4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0C6F0CEA-E837-82CB-5380-57149263B89D}"/>
              </a:ext>
            </a:extLst>
          </p:cNvPr>
          <p:cNvSpPr txBox="1">
            <a:spLocks/>
          </p:cNvSpPr>
          <p:nvPr/>
        </p:nvSpPr>
        <p:spPr>
          <a:xfrm>
            <a:off x="609918" y="5183843"/>
            <a:ext cx="10978515"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00" spc="20" baseline="0">
                <a:solidFill>
                  <a:schemeClr val="bg1"/>
                </a:solidFill>
                <a:latin typeface="EYInterstate Light" panose="02000506000000020004" pitchFamily="2" charset="0"/>
                <a:ea typeface="+mj-ea"/>
                <a:cs typeface="Arial" pitchFamily="34" charset="0"/>
              </a:defRPr>
            </a:lvl1pPr>
          </a:lstStyle>
          <a:p>
            <a:r>
              <a:rPr lang="nl-NL"/>
              <a:t>What is the scope?</a:t>
            </a:r>
            <a:endParaRPr lang="nl-NL" dirty="0"/>
          </a:p>
        </p:txBody>
      </p:sp>
      <p:sp>
        <p:nvSpPr>
          <p:cNvPr id="6" name="Content Placeholder 9">
            <a:extLst>
              <a:ext uri="{FF2B5EF4-FFF2-40B4-BE49-F238E27FC236}">
                <a16:creationId xmlns:a16="http://schemas.microsoft.com/office/drawing/2014/main" id="{5500AB4E-3969-A793-F22E-0E70CA3DE2C4}"/>
              </a:ext>
            </a:extLst>
          </p:cNvPr>
          <p:cNvSpPr txBox="1">
            <a:spLocks/>
          </p:cNvSpPr>
          <p:nvPr/>
        </p:nvSpPr>
        <p:spPr>
          <a:xfrm>
            <a:off x="609918" y="5652180"/>
            <a:ext cx="10978515" cy="4947920"/>
          </a:xfrm>
          <a:prstGeom prst="rect">
            <a:avLst/>
          </a:prstGeom>
        </p:spPr>
        <p:txBody>
          <a:bodyPr vert="horz" lIns="0" tIns="0" rIns="0" bIns="0" rtlCol="0" anchor="t"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000" kern="100" spc="20" baseline="0">
                <a:solidFill>
                  <a:schemeClr val="bg1"/>
                </a:solidFill>
                <a:latin typeface="EYInterstate Light" panose="02000506000000020004" pitchFamily="2" charset="0"/>
                <a:ea typeface="+mn-ea"/>
                <a:cs typeface="+mn-cs"/>
              </a:defRPr>
            </a:lvl1pPr>
            <a:lvl2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1800" kern="100" spc="20" baseline="0">
                <a:solidFill>
                  <a:schemeClr val="bg1"/>
                </a:solidFill>
                <a:latin typeface="EYInterstate Light" panose="02000506000000020004" pitchFamily="2" charset="0"/>
                <a:ea typeface="+mn-ea"/>
                <a:cs typeface="+mn-cs"/>
              </a:defRPr>
            </a:lvl2pPr>
            <a:lvl3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600" kern="100" spc="20" baseline="0">
                <a:solidFill>
                  <a:schemeClr val="bg1"/>
                </a:solidFill>
                <a:latin typeface="EYInterstate Light" panose="02000506000000020004" pitchFamily="2" charset="0"/>
                <a:ea typeface="+mn-ea"/>
                <a:cs typeface="+mn-cs"/>
              </a:defRPr>
            </a:lvl3pPr>
            <a:lvl4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400" kern="100" spc="20" baseline="0">
                <a:solidFill>
                  <a:schemeClr val="bg1"/>
                </a:solidFill>
                <a:latin typeface="EYInterstate Light" panose="02000506000000020004" pitchFamily="2" charset="0"/>
                <a:ea typeface="+mn-ea"/>
                <a:cs typeface="+mn-cs"/>
              </a:defRPr>
            </a:lvl4pPr>
            <a:lvl5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indent="-356616">
              <a:lnSpc>
                <a:spcPct val="120000"/>
              </a:lnSpc>
              <a:buFont typeface="EYInterstate Light" panose="02000506000000020004" pitchFamily="2" charset="0"/>
              <a:buChar char="•"/>
              <a:defRPr/>
            </a:pPr>
            <a:r>
              <a:rPr lang="en-US" dirty="0">
                <a:latin typeface="+mj-lt"/>
                <a:cs typeface="Arial"/>
              </a:rPr>
              <a:t>Over 2,5 million smart contracts</a:t>
            </a:r>
          </a:p>
          <a:p>
            <a:pPr marL="356616" indent="-356616">
              <a:lnSpc>
                <a:spcPct val="120000"/>
              </a:lnSpc>
              <a:buFont typeface="EYInterstate Light" panose="02000506000000020004" pitchFamily="2" charset="0"/>
              <a:buChar char="•"/>
              <a:defRPr/>
            </a:pPr>
            <a:r>
              <a:rPr lang="en-US" dirty="0">
                <a:latin typeface="+mj-lt"/>
                <a:cs typeface="Arial"/>
              </a:rPr>
              <a:t>Total Value Locked 148 billion USD</a:t>
            </a:r>
          </a:p>
          <a:p>
            <a:pPr>
              <a:lnSpc>
                <a:spcPct val="120000"/>
              </a:lnSpc>
              <a:defRPr/>
            </a:pPr>
            <a:endParaRPr lang="en-US" dirty="0">
              <a:solidFill>
                <a:srgbClr val="242524">
                  <a:alpha val="70000"/>
                </a:srgbClr>
              </a:solidFill>
              <a:latin typeface="+mj-lt"/>
              <a:cs typeface="Arial"/>
            </a:endParaRPr>
          </a:p>
        </p:txBody>
      </p:sp>
    </p:spTree>
    <p:extLst>
      <p:ext uri="{BB962C8B-B14F-4D97-AF65-F5344CB8AC3E}">
        <p14:creationId xmlns:p14="http://schemas.microsoft.com/office/powerpoint/2010/main" val="15743520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A71358D-53B2-7BF1-8355-9C6C8A88A095}"/>
              </a:ext>
            </a:extLst>
          </p:cNvPr>
          <p:cNvSpPr>
            <a:spLocks noGrp="1"/>
          </p:cNvSpPr>
          <p:nvPr>
            <p:ph type="title"/>
          </p:nvPr>
        </p:nvSpPr>
        <p:spPr/>
        <p:txBody>
          <a:bodyPr/>
          <a:lstStyle/>
          <a:p>
            <a:r>
              <a:rPr lang="nl-NL" dirty="0"/>
              <a:t>Foundations of smart </a:t>
            </a:r>
            <a:r>
              <a:rPr lang="en-US" dirty="0"/>
              <a:t>contracts</a:t>
            </a:r>
          </a:p>
        </p:txBody>
      </p:sp>
      <p:sp>
        <p:nvSpPr>
          <p:cNvPr id="8" name="Content Placeholder 7">
            <a:extLst>
              <a:ext uri="{FF2B5EF4-FFF2-40B4-BE49-F238E27FC236}">
                <a16:creationId xmlns:a16="http://schemas.microsoft.com/office/drawing/2014/main" id="{16FE0EFF-EBBC-E991-21C8-D4D26157BD61}"/>
              </a:ext>
            </a:extLst>
          </p:cNvPr>
          <p:cNvSpPr>
            <a:spLocks noGrp="1"/>
          </p:cNvSpPr>
          <p:nvPr>
            <p:ph idx="1"/>
          </p:nvPr>
        </p:nvSpPr>
        <p:spPr>
          <a:xfrm>
            <a:off x="587988" y="1137920"/>
            <a:ext cx="10978515" cy="4947920"/>
          </a:xfrm>
        </p:spPr>
        <p:txBody>
          <a:bodyPr/>
          <a:lstStyle/>
          <a:p>
            <a:r>
              <a:rPr lang="en-US" dirty="0"/>
              <a:t>Smart contracts run on a blockchain, meaning that once uploaded they can not be removed (testing is more important, first time right)</a:t>
            </a:r>
          </a:p>
          <a:p>
            <a:r>
              <a:rPr lang="en-US" dirty="0"/>
              <a:t>Smart contracts have an address that you use to interact with it</a:t>
            </a:r>
          </a:p>
          <a:p>
            <a:r>
              <a:rPr lang="en-US" dirty="0"/>
              <a:t>Smart contracts are not that smart, Oracles are their eyes and ears</a:t>
            </a:r>
          </a:p>
          <a:p>
            <a:r>
              <a:rPr lang="en-US" dirty="0"/>
              <a:t>Smart contracts are just a piece of code that are developed in a certain language</a:t>
            </a:r>
          </a:p>
        </p:txBody>
      </p:sp>
      <p:sp>
        <p:nvSpPr>
          <p:cNvPr id="4" name="Date Placeholder 3">
            <a:extLst>
              <a:ext uri="{FF2B5EF4-FFF2-40B4-BE49-F238E27FC236}">
                <a16:creationId xmlns:a16="http://schemas.microsoft.com/office/drawing/2014/main" id="{9C90A079-7D5E-1F24-5C00-B213D11FA5A1}"/>
              </a:ext>
            </a:extLst>
          </p:cNvPr>
          <p:cNvSpPr>
            <a:spLocks noGrp="1"/>
          </p:cNvSpPr>
          <p:nvPr>
            <p:ph type="dt" sz="half" idx="10"/>
          </p:nvPr>
        </p:nvSpPr>
        <p:spPr/>
        <p:txBody>
          <a:bodyPr/>
          <a:lstStyle/>
          <a:p>
            <a:fld id="{94216D89-A9DB-44C0-8F85-E278751F8C42}" type="datetime3">
              <a:rPr lang="en-US" smtClean="0"/>
              <a:t>13 March 2024</a:t>
            </a:fld>
            <a:endParaRPr lang="en-IN" dirty="0"/>
          </a:p>
        </p:txBody>
      </p:sp>
      <p:sp>
        <p:nvSpPr>
          <p:cNvPr id="5" name="Footer Placeholder 4">
            <a:extLst>
              <a:ext uri="{FF2B5EF4-FFF2-40B4-BE49-F238E27FC236}">
                <a16:creationId xmlns:a16="http://schemas.microsoft.com/office/drawing/2014/main" id="{93B8AC7E-A0D4-9BE6-D0BE-5A3E8A780D08}"/>
              </a:ext>
            </a:extLst>
          </p:cNvPr>
          <p:cNvSpPr>
            <a:spLocks noGrp="1"/>
          </p:cNvSpPr>
          <p:nvPr>
            <p:ph type="ftr" sz="quarter" idx="11"/>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E5386324-2052-AED6-5FC0-47A202ED320C}"/>
              </a:ext>
            </a:extLst>
          </p:cNvPr>
          <p:cNvSpPr>
            <a:spLocks noGrp="1"/>
          </p:cNvSpPr>
          <p:nvPr>
            <p:ph type="sldNum" sz="quarter" idx="12"/>
          </p:nvPr>
        </p:nvSpPr>
        <p:spPr/>
        <p:txBody>
          <a:bodyPr/>
          <a:lstStyle/>
          <a:p>
            <a:r>
              <a:rPr lang="en-IN"/>
              <a:t>Page </a:t>
            </a:r>
            <a:fld id="{F1BC30E3-FFE5-4B91-AA19-87A149EBB9EE}" type="slidenum">
              <a:rPr smtClean="0"/>
              <a:pPr/>
              <a:t>14</a:t>
            </a:fld>
            <a:endParaRPr dirty="0"/>
          </a:p>
        </p:txBody>
      </p:sp>
      <p:pic>
        <p:nvPicPr>
          <p:cNvPr id="9" name="Picture 8" descr="Uploaded image">
            <a:extLst>
              <a:ext uri="{FF2B5EF4-FFF2-40B4-BE49-F238E27FC236}">
                <a16:creationId xmlns:a16="http://schemas.microsoft.com/office/drawing/2014/main" id="{775D0F52-7544-88A4-7210-6B8CD01652E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20186" y="3157220"/>
            <a:ext cx="5760720" cy="2928620"/>
          </a:xfrm>
          <a:prstGeom prst="rect">
            <a:avLst/>
          </a:prstGeom>
          <a:noFill/>
          <a:ln>
            <a:noFill/>
          </a:ln>
        </p:spPr>
      </p:pic>
      <p:pic>
        <p:nvPicPr>
          <p:cNvPr id="2" name="Picture 2" descr="NOREA | NOREA">
            <a:extLst>
              <a:ext uri="{FF2B5EF4-FFF2-40B4-BE49-F238E27FC236}">
                <a16:creationId xmlns:a16="http://schemas.microsoft.com/office/drawing/2014/main" id="{923A9021-F49B-5A0B-F908-9D6C051F6E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7161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9BD4D-6C18-D0E4-3188-4F26F539B635}"/>
              </a:ext>
            </a:extLst>
          </p:cNvPr>
          <p:cNvSpPr>
            <a:spLocks noGrp="1"/>
          </p:cNvSpPr>
          <p:nvPr>
            <p:ph type="title"/>
          </p:nvPr>
        </p:nvSpPr>
        <p:spPr/>
        <p:txBody>
          <a:bodyPr/>
          <a:lstStyle/>
          <a:p>
            <a:r>
              <a:rPr lang="nl-NL" dirty="0" err="1"/>
              <a:t>Example</a:t>
            </a:r>
            <a:r>
              <a:rPr lang="nl-NL" dirty="0"/>
              <a:t> of a smart contract</a:t>
            </a:r>
          </a:p>
        </p:txBody>
      </p:sp>
      <p:sp>
        <p:nvSpPr>
          <p:cNvPr id="3" name="Content Placeholder 2">
            <a:extLst>
              <a:ext uri="{FF2B5EF4-FFF2-40B4-BE49-F238E27FC236}">
                <a16:creationId xmlns:a16="http://schemas.microsoft.com/office/drawing/2014/main" id="{8542F290-9157-7F4E-5004-F2C1DEC33DE4}"/>
              </a:ext>
            </a:extLst>
          </p:cNvPr>
          <p:cNvSpPr>
            <a:spLocks noGrp="1"/>
          </p:cNvSpPr>
          <p:nvPr>
            <p:ph idx="1"/>
          </p:nvPr>
        </p:nvSpPr>
        <p:spPr>
          <a:xfrm>
            <a:off x="617221" y="1019933"/>
            <a:ext cx="10978515" cy="4947920"/>
          </a:xfrm>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Smart contracts can be used to automatically reimburse passengers of delayed flights. </a:t>
            </a:r>
          </a:p>
          <a:p>
            <a:pPr marL="0" inden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Considering how smart contracts execute a set of rules, the only thing you need is the defined parameters that conclude how many hours are considered to be enough to be reimbursed as passenger. </a:t>
            </a:r>
          </a:p>
          <a:p>
            <a:pPr marL="0" inden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If you take two hours as a minimum, a simple smart contract could reimburse passengers following the ‘if, then’ logic (if flight is delayed two hours, then passengers are reimbursed). </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4" name="Date Placeholder 3">
            <a:extLst>
              <a:ext uri="{FF2B5EF4-FFF2-40B4-BE49-F238E27FC236}">
                <a16:creationId xmlns:a16="http://schemas.microsoft.com/office/drawing/2014/main" id="{8E655CF8-45D2-8347-A6B0-DF6C3BDC7029}"/>
              </a:ext>
            </a:extLst>
          </p:cNvPr>
          <p:cNvSpPr>
            <a:spLocks noGrp="1"/>
          </p:cNvSpPr>
          <p:nvPr>
            <p:ph type="dt" sz="half" idx="10"/>
          </p:nvPr>
        </p:nvSpPr>
        <p:spPr/>
        <p:txBody>
          <a:bodyPr/>
          <a:lstStyle/>
          <a:p>
            <a:fld id="{C02F53D5-8456-47FA-82FD-09E81657A037}" type="datetime3">
              <a:rPr lang="en-US" smtClean="0"/>
              <a:t>13 March 2024</a:t>
            </a:fld>
            <a:endParaRPr lang="en-IN" dirty="0"/>
          </a:p>
        </p:txBody>
      </p:sp>
      <p:sp>
        <p:nvSpPr>
          <p:cNvPr id="5" name="Footer Placeholder 4">
            <a:extLst>
              <a:ext uri="{FF2B5EF4-FFF2-40B4-BE49-F238E27FC236}">
                <a16:creationId xmlns:a16="http://schemas.microsoft.com/office/drawing/2014/main" id="{F2E64CAD-C43C-4D1E-39F3-9CBDAC655E4C}"/>
              </a:ext>
            </a:extLst>
          </p:cNvPr>
          <p:cNvSpPr>
            <a:spLocks noGrp="1"/>
          </p:cNvSpPr>
          <p:nvPr>
            <p:ph type="ftr" sz="quarter" idx="11"/>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D748DF2D-7040-CBB5-F41E-8A5F56CA4895}"/>
              </a:ext>
            </a:extLst>
          </p:cNvPr>
          <p:cNvSpPr>
            <a:spLocks noGrp="1"/>
          </p:cNvSpPr>
          <p:nvPr>
            <p:ph type="sldNum" sz="quarter" idx="12"/>
          </p:nvPr>
        </p:nvSpPr>
        <p:spPr/>
        <p:txBody>
          <a:bodyPr/>
          <a:lstStyle/>
          <a:p>
            <a:r>
              <a:rPr lang="en-IN"/>
              <a:t>Page </a:t>
            </a:r>
            <a:fld id="{F1BC30E3-FFE5-4B91-AA19-87A149EBB9EE}" type="slidenum">
              <a:rPr smtClean="0"/>
              <a:pPr/>
              <a:t>15</a:t>
            </a:fld>
            <a:endParaRPr dirty="0"/>
          </a:p>
        </p:txBody>
      </p:sp>
      <p:grpSp>
        <p:nvGrpSpPr>
          <p:cNvPr id="29" name="Group 28">
            <a:extLst>
              <a:ext uri="{FF2B5EF4-FFF2-40B4-BE49-F238E27FC236}">
                <a16:creationId xmlns:a16="http://schemas.microsoft.com/office/drawing/2014/main" id="{BA2697EF-BB20-B32F-62B4-B77C6A297B6A}"/>
              </a:ext>
            </a:extLst>
          </p:cNvPr>
          <p:cNvGrpSpPr/>
          <p:nvPr/>
        </p:nvGrpSpPr>
        <p:grpSpPr>
          <a:xfrm>
            <a:off x="1170981" y="4455219"/>
            <a:ext cx="9705462" cy="1088882"/>
            <a:chOff x="1170981" y="4455219"/>
            <a:chExt cx="9705462" cy="1088882"/>
          </a:xfrm>
        </p:grpSpPr>
        <p:grpSp>
          <p:nvGrpSpPr>
            <p:cNvPr id="12" name="Group 11">
              <a:extLst>
                <a:ext uri="{FF2B5EF4-FFF2-40B4-BE49-F238E27FC236}">
                  <a16:creationId xmlns:a16="http://schemas.microsoft.com/office/drawing/2014/main" id="{C1AD22D2-E6CC-3A3C-6F06-A30AB0F76FF1}"/>
                </a:ext>
              </a:extLst>
            </p:cNvPr>
            <p:cNvGrpSpPr/>
            <p:nvPr/>
          </p:nvGrpSpPr>
          <p:grpSpPr>
            <a:xfrm>
              <a:off x="1170981" y="4455219"/>
              <a:ext cx="1094727" cy="1088882"/>
              <a:chOff x="1350731" y="4448248"/>
              <a:chExt cx="1094727" cy="1088882"/>
            </a:xfrm>
          </p:grpSpPr>
          <p:sp>
            <p:nvSpPr>
              <p:cNvPr id="10" name="Oval 9">
                <a:extLst>
                  <a:ext uri="{FF2B5EF4-FFF2-40B4-BE49-F238E27FC236}">
                    <a16:creationId xmlns:a16="http://schemas.microsoft.com/office/drawing/2014/main" id="{30395C31-F175-161E-C9CA-CBD6387C1E8F}"/>
                  </a:ext>
                </a:extLst>
              </p:cNvPr>
              <p:cNvSpPr>
                <a:spLocks noChangeAspect="1"/>
              </p:cNvSpPr>
              <p:nvPr/>
            </p:nvSpPr>
            <p:spPr>
              <a:xfrm>
                <a:off x="1350731" y="4448248"/>
                <a:ext cx="1094727" cy="1088882"/>
              </a:xfrm>
              <a:prstGeom prst="ellipse">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endParaRPr lang="en-US" sz="1200" dirty="0">
                  <a:solidFill>
                    <a:schemeClr val="bg1"/>
                  </a:solidFill>
                  <a:latin typeface="EYInterstate Light" panose="02000506000000020004" pitchFamily="2" charset="0"/>
                </a:endParaRPr>
              </a:p>
            </p:txBody>
          </p:sp>
          <p:sp>
            <p:nvSpPr>
              <p:cNvPr id="8" name="TextBox 7">
                <a:extLst>
                  <a:ext uri="{FF2B5EF4-FFF2-40B4-BE49-F238E27FC236}">
                    <a16:creationId xmlns:a16="http://schemas.microsoft.com/office/drawing/2014/main" id="{620CD8B7-2E38-86E2-54D8-4A12D35202A4}"/>
                  </a:ext>
                </a:extLst>
              </p:cNvPr>
              <p:cNvSpPr txBox="1"/>
              <p:nvPr/>
            </p:nvSpPr>
            <p:spPr>
              <a:xfrm>
                <a:off x="1723366" y="4686452"/>
                <a:ext cx="349456" cy="612475"/>
              </a:xfrm>
              <a:prstGeom prst="rect">
                <a:avLst/>
              </a:prstGeom>
              <a:noFill/>
            </p:spPr>
            <p:txBody>
              <a:bodyPr wrap="none" lIns="0" tIns="36576" rIns="0" bIns="0" rtlCol="0" anchor="ctr">
                <a:spAutoFit/>
              </a:bodyPr>
              <a:lstStyle/>
              <a:p>
                <a:pPr algn="ctr">
                  <a:lnSpc>
                    <a:spcPct val="85000"/>
                  </a:lnSpc>
                  <a:spcAft>
                    <a:spcPts val="600"/>
                  </a:spcAft>
                  <a:buClr>
                    <a:schemeClr val="accent2"/>
                  </a:buClr>
                  <a:buSzPct val="70000"/>
                </a:pPr>
                <a:r>
                  <a:rPr lang="en-US" sz="4400" b="1" dirty="0">
                    <a:latin typeface="EYInterstate Light" panose="02000506000000020004" pitchFamily="2" charset="0"/>
                  </a:rPr>
                  <a:t>$</a:t>
                </a:r>
              </a:p>
            </p:txBody>
          </p:sp>
        </p:grpSp>
        <p:grpSp>
          <p:nvGrpSpPr>
            <p:cNvPr id="14" name="Group 13">
              <a:extLst>
                <a:ext uri="{FF2B5EF4-FFF2-40B4-BE49-F238E27FC236}">
                  <a16:creationId xmlns:a16="http://schemas.microsoft.com/office/drawing/2014/main" id="{F4064D2B-335C-59DE-D339-B419605298A5}"/>
                </a:ext>
              </a:extLst>
            </p:cNvPr>
            <p:cNvGrpSpPr/>
            <p:nvPr/>
          </p:nvGrpSpPr>
          <p:grpSpPr>
            <a:xfrm>
              <a:off x="3323665" y="4455219"/>
              <a:ext cx="1094727" cy="1088882"/>
              <a:chOff x="4011810" y="4448248"/>
              <a:chExt cx="1094727" cy="1088882"/>
            </a:xfrm>
          </p:grpSpPr>
          <p:sp>
            <p:nvSpPr>
              <p:cNvPr id="7" name="Oval 6">
                <a:extLst>
                  <a:ext uri="{FF2B5EF4-FFF2-40B4-BE49-F238E27FC236}">
                    <a16:creationId xmlns:a16="http://schemas.microsoft.com/office/drawing/2014/main" id="{2735520E-4E7B-17A6-FC9E-28175F4FFA0B}"/>
                  </a:ext>
                </a:extLst>
              </p:cNvPr>
              <p:cNvSpPr>
                <a:spLocks noChangeAspect="1"/>
              </p:cNvSpPr>
              <p:nvPr/>
            </p:nvSpPr>
            <p:spPr>
              <a:xfrm>
                <a:off x="4011810" y="4448248"/>
                <a:ext cx="1094727" cy="1088882"/>
              </a:xfrm>
              <a:prstGeom prst="ellipse">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endParaRPr lang="en-US" sz="1200" dirty="0">
                  <a:solidFill>
                    <a:schemeClr val="bg1"/>
                  </a:solidFill>
                  <a:latin typeface="EYInterstate Light" panose="02000506000000020004" pitchFamily="2" charset="0"/>
                </a:endParaRPr>
              </a:p>
            </p:txBody>
          </p:sp>
          <p:pic>
            <p:nvPicPr>
              <p:cNvPr id="13" name="Picture 12" descr="Contract outline">
                <a:extLst>
                  <a:ext uri="{FF2B5EF4-FFF2-40B4-BE49-F238E27FC236}">
                    <a16:creationId xmlns:a16="http://schemas.microsoft.com/office/drawing/2014/main" id="{A4F4AA6C-6FC6-4559-6B05-6AD6FA1422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262088" y="4695604"/>
                <a:ext cx="594171" cy="594171"/>
              </a:xfrm>
              <a:prstGeom prst="rect">
                <a:avLst/>
              </a:prstGeom>
            </p:spPr>
          </p:pic>
        </p:grpSp>
        <p:grpSp>
          <p:nvGrpSpPr>
            <p:cNvPr id="17" name="Group 16">
              <a:extLst>
                <a:ext uri="{FF2B5EF4-FFF2-40B4-BE49-F238E27FC236}">
                  <a16:creationId xmlns:a16="http://schemas.microsoft.com/office/drawing/2014/main" id="{A0C17F5A-E093-B0BA-C3D0-DBA682A6F566}"/>
                </a:ext>
              </a:extLst>
            </p:cNvPr>
            <p:cNvGrpSpPr/>
            <p:nvPr/>
          </p:nvGrpSpPr>
          <p:grpSpPr>
            <a:xfrm>
              <a:off x="7629033" y="4455219"/>
              <a:ext cx="1094727" cy="1088882"/>
              <a:chOff x="6075600" y="4395154"/>
              <a:chExt cx="1094727" cy="1088882"/>
            </a:xfrm>
          </p:grpSpPr>
          <p:sp>
            <p:nvSpPr>
              <p:cNvPr id="11" name="Oval 10">
                <a:extLst>
                  <a:ext uri="{FF2B5EF4-FFF2-40B4-BE49-F238E27FC236}">
                    <a16:creationId xmlns:a16="http://schemas.microsoft.com/office/drawing/2014/main" id="{141671DD-03B6-A176-F986-2E196825CBD7}"/>
                  </a:ext>
                </a:extLst>
              </p:cNvPr>
              <p:cNvSpPr>
                <a:spLocks noChangeAspect="1"/>
              </p:cNvSpPr>
              <p:nvPr/>
            </p:nvSpPr>
            <p:spPr>
              <a:xfrm rot="21198564">
                <a:off x="6075600" y="4395154"/>
                <a:ext cx="1094727" cy="1088882"/>
              </a:xfrm>
              <a:prstGeom prst="ellipse">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endParaRPr lang="en-US" sz="1200" dirty="0">
                  <a:solidFill>
                    <a:schemeClr val="bg1"/>
                  </a:solidFill>
                  <a:latin typeface="EYInterstate Light" panose="02000506000000020004" pitchFamily="2" charset="0"/>
                </a:endParaRPr>
              </a:p>
            </p:txBody>
          </p:sp>
          <p:pic>
            <p:nvPicPr>
              <p:cNvPr id="16" name="Graphic 15" descr="Stopwatch 75% outline">
                <a:extLst>
                  <a:ext uri="{FF2B5EF4-FFF2-40B4-BE49-F238E27FC236}">
                    <a16:creationId xmlns:a16="http://schemas.microsoft.com/office/drawing/2014/main" id="{00BE5FCE-61B7-E3BD-EA2B-57BA0C0F7A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5841" y="4532473"/>
                <a:ext cx="814245" cy="814245"/>
              </a:xfrm>
              <a:prstGeom prst="rect">
                <a:avLst/>
              </a:prstGeom>
            </p:spPr>
          </p:pic>
        </p:grpSp>
        <p:grpSp>
          <p:nvGrpSpPr>
            <p:cNvPr id="20" name="Group 19">
              <a:extLst>
                <a:ext uri="{FF2B5EF4-FFF2-40B4-BE49-F238E27FC236}">
                  <a16:creationId xmlns:a16="http://schemas.microsoft.com/office/drawing/2014/main" id="{5D654457-8422-098E-4398-418A3036ED48}"/>
                </a:ext>
              </a:extLst>
            </p:cNvPr>
            <p:cNvGrpSpPr/>
            <p:nvPr/>
          </p:nvGrpSpPr>
          <p:grpSpPr>
            <a:xfrm>
              <a:off x="5476349" y="4455219"/>
              <a:ext cx="1094727" cy="1088882"/>
              <a:chOff x="5777924" y="4388183"/>
              <a:chExt cx="1094727" cy="1088882"/>
            </a:xfrm>
          </p:grpSpPr>
          <p:sp>
            <p:nvSpPr>
              <p:cNvPr id="9" name="Oval 8">
                <a:extLst>
                  <a:ext uri="{FF2B5EF4-FFF2-40B4-BE49-F238E27FC236}">
                    <a16:creationId xmlns:a16="http://schemas.microsoft.com/office/drawing/2014/main" id="{68A9B222-DAA7-5FDB-82EF-2827DA5A5F97}"/>
                  </a:ext>
                </a:extLst>
              </p:cNvPr>
              <p:cNvSpPr>
                <a:spLocks noChangeAspect="1"/>
              </p:cNvSpPr>
              <p:nvPr/>
            </p:nvSpPr>
            <p:spPr>
              <a:xfrm>
                <a:off x="5777924" y="4388183"/>
                <a:ext cx="1094727" cy="1088882"/>
              </a:xfrm>
              <a:prstGeom prst="ellipse">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endParaRPr lang="en-US" sz="1200" dirty="0">
                  <a:solidFill>
                    <a:schemeClr val="bg1"/>
                  </a:solidFill>
                  <a:latin typeface="EYInterstate Light" panose="02000506000000020004" pitchFamily="2" charset="0"/>
                </a:endParaRPr>
              </a:p>
            </p:txBody>
          </p:sp>
          <p:pic>
            <p:nvPicPr>
              <p:cNvPr id="19" name="Graphic 18" descr="Buddha Silhouette outline">
                <a:extLst>
                  <a:ext uri="{FF2B5EF4-FFF2-40B4-BE49-F238E27FC236}">
                    <a16:creationId xmlns:a16="http://schemas.microsoft.com/office/drawing/2014/main" id="{D1532DD1-BC35-0EED-32CA-F0B38578F6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66779" y="4574116"/>
                <a:ext cx="717016" cy="717016"/>
              </a:xfrm>
              <a:prstGeom prst="rect">
                <a:avLst/>
              </a:prstGeom>
            </p:spPr>
          </p:pic>
        </p:grpSp>
        <p:grpSp>
          <p:nvGrpSpPr>
            <p:cNvPr id="24" name="Group 23">
              <a:extLst>
                <a:ext uri="{FF2B5EF4-FFF2-40B4-BE49-F238E27FC236}">
                  <a16:creationId xmlns:a16="http://schemas.microsoft.com/office/drawing/2014/main" id="{E754BCAC-3511-08C4-141A-F5ADC66FADA7}"/>
                </a:ext>
              </a:extLst>
            </p:cNvPr>
            <p:cNvGrpSpPr/>
            <p:nvPr/>
          </p:nvGrpSpPr>
          <p:grpSpPr>
            <a:xfrm>
              <a:off x="9781716" y="4455219"/>
              <a:ext cx="1094727" cy="1088882"/>
              <a:chOff x="9961466" y="4455219"/>
              <a:chExt cx="1094727" cy="1088882"/>
            </a:xfrm>
          </p:grpSpPr>
          <p:sp>
            <p:nvSpPr>
              <p:cNvPr id="21" name="Oval 20">
                <a:extLst>
                  <a:ext uri="{FF2B5EF4-FFF2-40B4-BE49-F238E27FC236}">
                    <a16:creationId xmlns:a16="http://schemas.microsoft.com/office/drawing/2014/main" id="{D1D4C7E0-E493-4FAB-3427-BC4F437DAE1B}"/>
                  </a:ext>
                </a:extLst>
              </p:cNvPr>
              <p:cNvSpPr>
                <a:spLocks noChangeAspect="1"/>
              </p:cNvSpPr>
              <p:nvPr/>
            </p:nvSpPr>
            <p:spPr>
              <a:xfrm>
                <a:off x="9961466" y="4455219"/>
                <a:ext cx="1094727" cy="1088882"/>
              </a:xfrm>
              <a:prstGeom prst="ellipse">
                <a:avLst/>
              </a:prstGeom>
              <a:ln/>
            </p:spPr>
            <p:style>
              <a:lnRef idx="2">
                <a:schemeClr val="dk1"/>
              </a:lnRef>
              <a:fillRef idx="1001">
                <a:schemeClr val="lt1"/>
              </a:fillRef>
              <a:effectRef idx="0">
                <a:schemeClr val="dk1"/>
              </a:effectRef>
              <a:fontRef idx="minor">
                <a:schemeClr val="dk1"/>
              </a:fontRef>
            </p:style>
            <p:txBody>
              <a:bodyPr rtlCol="0" anchor="t" anchorCtr="0"/>
              <a:lstStyle/>
              <a:p>
                <a:pPr algn="ctr"/>
                <a:endParaRPr lang="en-US" sz="1200" dirty="0">
                  <a:solidFill>
                    <a:schemeClr val="bg1"/>
                  </a:solidFill>
                  <a:latin typeface="EYInterstate Light" panose="02000506000000020004" pitchFamily="2" charset="0"/>
                </a:endParaRPr>
              </a:p>
            </p:txBody>
          </p:sp>
          <p:pic>
            <p:nvPicPr>
              <p:cNvPr id="23" name="Graphic 22" descr="Line arrow: Horizontal U-turn with solid fill">
                <a:extLst>
                  <a:ext uri="{FF2B5EF4-FFF2-40B4-BE49-F238E27FC236}">
                    <a16:creationId xmlns:a16="http://schemas.microsoft.com/office/drawing/2014/main" id="{0423ACFE-3D86-BFC9-6287-5DF9E1A0B24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41216" y="4632047"/>
                <a:ext cx="735227" cy="735227"/>
              </a:xfrm>
              <a:prstGeom prst="rect">
                <a:avLst/>
              </a:prstGeom>
            </p:spPr>
          </p:pic>
        </p:grpSp>
        <p:sp>
          <p:nvSpPr>
            <p:cNvPr id="25" name="Arrow: Right 24">
              <a:extLst>
                <a:ext uri="{FF2B5EF4-FFF2-40B4-BE49-F238E27FC236}">
                  <a16:creationId xmlns:a16="http://schemas.microsoft.com/office/drawing/2014/main" id="{453CB65E-9F23-4365-146A-BBA3ED638968}"/>
                </a:ext>
              </a:extLst>
            </p:cNvPr>
            <p:cNvSpPr/>
            <p:nvPr/>
          </p:nvSpPr>
          <p:spPr>
            <a:xfrm>
              <a:off x="2439647" y="4860085"/>
              <a:ext cx="604420" cy="336706"/>
            </a:xfrm>
            <a:prstGeom prst="rightArrow">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26" name="Arrow: Right 25">
              <a:extLst>
                <a:ext uri="{FF2B5EF4-FFF2-40B4-BE49-F238E27FC236}">
                  <a16:creationId xmlns:a16="http://schemas.microsoft.com/office/drawing/2014/main" id="{2CB7BE1E-582F-1128-E311-3881DCC10C81}"/>
                </a:ext>
              </a:extLst>
            </p:cNvPr>
            <p:cNvSpPr/>
            <p:nvPr/>
          </p:nvSpPr>
          <p:spPr>
            <a:xfrm>
              <a:off x="4588651" y="4860085"/>
              <a:ext cx="604420" cy="336706"/>
            </a:xfrm>
            <a:prstGeom prst="rightArrow">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27" name="Arrow: Right 26">
              <a:extLst>
                <a:ext uri="{FF2B5EF4-FFF2-40B4-BE49-F238E27FC236}">
                  <a16:creationId xmlns:a16="http://schemas.microsoft.com/office/drawing/2014/main" id="{1BF7837D-4315-45BF-EF2A-70646B09229C}"/>
                </a:ext>
              </a:extLst>
            </p:cNvPr>
            <p:cNvSpPr/>
            <p:nvPr/>
          </p:nvSpPr>
          <p:spPr>
            <a:xfrm>
              <a:off x="6737655" y="4860085"/>
              <a:ext cx="604420" cy="336706"/>
            </a:xfrm>
            <a:prstGeom prst="rightArrow">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28" name="Arrow: Right 27">
              <a:extLst>
                <a:ext uri="{FF2B5EF4-FFF2-40B4-BE49-F238E27FC236}">
                  <a16:creationId xmlns:a16="http://schemas.microsoft.com/office/drawing/2014/main" id="{A8094E69-AA06-D509-A01E-07E99DEB3616}"/>
                </a:ext>
              </a:extLst>
            </p:cNvPr>
            <p:cNvSpPr/>
            <p:nvPr/>
          </p:nvSpPr>
          <p:spPr>
            <a:xfrm>
              <a:off x="8886658" y="4860085"/>
              <a:ext cx="604420" cy="336706"/>
            </a:xfrm>
            <a:prstGeom prst="rightArrow">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grpSp>
      <p:pic>
        <p:nvPicPr>
          <p:cNvPr id="15" name="Picture 2" descr="NOREA | NOREA">
            <a:extLst>
              <a:ext uri="{FF2B5EF4-FFF2-40B4-BE49-F238E27FC236}">
                <a16:creationId xmlns:a16="http://schemas.microsoft.com/office/drawing/2014/main" id="{9CCAD3C5-09E1-E28C-F1FE-BACED563B8E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7091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D9E91-1DB0-7DD1-C17C-B78B9BFBB950}"/>
              </a:ext>
            </a:extLst>
          </p:cNvPr>
          <p:cNvSpPr>
            <a:spLocks noGrp="1"/>
          </p:cNvSpPr>
          <p:nvPr>
            <p:ph type="title"/>
          </p:nvPr>
        </p:nvSpPr>
        <p:spPr/>
        <p:txBody>
          <a:bodyPr/>
          <a:lstStyle/>
          <a:p>
            <a:r>
              <a:rPr lang="en-US" dirty="0"/>
              <a:t>Change management</a:t>
            </a:r>
          </a:p>
        </p:txBody>
      </p:sp>
      <p:sp>
        <p:nvSpPr>
          <p:cNvPr id="3" name="Content Placeholder 2">
            <a:extLst>
              <a:ext uri="{FF2B5EF4-FFF2-40B4-BE49-F238E27FC236}">
                <a16:creationId xmlns:a16="http://schemas.microsoft.com/office/drawing/2014/main" id="{C2C9BEB0-DC0D-422F-332D-87B15FB375B7}"/>
              </a:ext>
            </a:extLst>
          </p:cNvPr>
          <p:cNvSpPr>
            <a:spLocks noGrp="1"/>
          </p:cNvSpPr>
          <p:nvPr>
            <p:ph idx="1"/>
          </p:nvPr>
        </p:nvSpPr>
        <p:spPr/>
        <p:txBody>
          <a:bodyPr/>
          <a:lstStyle/>
          <a:p>
            <a:r>
              <a:rPr lang="en-US" dirty="0"/>
              <a:t>Can you delete a smart contract?</a:t>
            </a:r>
          </a:p>
          <a:p>
            <a:r>
              <a:rPr lang="en-US" dirty="0"/>
              <a:t>Can you make changes to a smart contract?</a:t>
            </a:r>
          </a:p>
        </p:txBody>
      </p:sp>
      <p:sp>
        <p:nvSpPr>
          <p:cNvPr id="4" name="Date Placeholder 3">
            <a:extLst>
              <a:ext uri="{FF2B5EF4-FFF2-40B4-BE49-F238E27FC236}">
                <a16:creationId xmlns:a16="http://schemas.microsoft.com/office/drawing/2014/main" id="{C2509C7B-2E6E-C84E-B140-19304820E7C7}"/>
              </a:ext>
            </a:extLst>
          </p:cNvPr>
          <p:cNvSpPr>
            <a:spLocks noGrp="1"/>
          </p:cNvSpPr>
          <p:nvPr>
            <p:ph type="dt" sz="half" idx="10"/>
          </p:nvPr>
        </p:nvSpPr>
        <p:spPr/>
        <p:txBody>
          <a:bodyPr/>
          <a:lstStyle/>
          <a:p>
            <a:fld id="{C02F53D5-8456-47FA-82FD-09E81657A037}" type="datetime3">
              <a:rPr lang="en-US" smtClean="0"/>
              <a:t>13 March 2024</a:t>
            </a:fld>
            <a:endParaRPr lang="en-IN" dirty="0"/>
          </a:p>
        </p:txBody>
      </p:sp>
      <p:sp>
        <p:nvSpPr>
          <p:cNvPr id="5" name="Footer Placeholder 4">
            <a:extLst>
              <a:ext uri="{FF2B5EF4-FFF2-40B4-BE49-F238E27FC236}">
                <a16:creationId xmlns:a16="http://schemas.microsoft.com/office/drawing/2014/main" id="{2D666FC3-E17C-1CAA-11A0-B027C5BF952D}"/>
              </a:ext>
            </a:extLst>
          </p:cNvPr>
          <p:cNvSpPr>
            <a:spLocks noGrp="1"/>
          </p:cNvSpPr>
          <p:nvPr>
            <p:ph type="ftr" sz="quarter" idx="11"/>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D5F06F1C-BF8A-867C-27DB-2D9669A83CF9}"/>
              </a:ext>
            </a:extLst>
          </p:cNvPr>
          <p:cNvSpPr>
            <a:spLocks noGrp="1"/>
          </p:cNvSpPr>
          <p:nvPr>
            <p:ph type="sldNum" sz="quarter" idx="12"/>
          </p:nvPr>
        </p:nvSpPr>
        <p:spPr/>
        <p:txBody>
          <a:bodyPr/>
          <a:lstStyle/>
          <a:p>
            <a:r>
              <a:rPr lang="en-IN"/>
              <a:t>Page </a:t>
            </a:r>
            <a:fld id="{F1BC30E3-FFE5-4B91-AA19-87A149EBB9EE}" type="slidenum">
              <a:rPr smtClean="0"/>
              <a:pPr/>
              <a:t>16</a:t>
            </a:fld>
            <a:endParaRPr dirty="0"/>
          </a:p>
        </p:txBody>
      </p:sp>
      <p:pic>
        <p:nvPicPr>
          <p:cNvPr id="7" name="Picture 2" descr="NOREA | NOREA">
            <a:extLst>
              <a:ext uri="{FF2B5EF4-FFF2-40B4-BE49-F238E27FC236}">
                <a16:creationId xmlns:a16="http://schemas.microsoft.com/office/drawing/2014/main" id="{B7064470-7499-6106-A512-192D952B63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6293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dirty="0"/>
              <a:t>Smart Contract Risks</a:t>
            </a:r>
          </a:p>
        </p:txBody>
      </p:sp>
      <p:pic>
        <p:nvPicPr>
          <p:cNvPr id="3" name="Picture 2" descr="NOREA | NOREA">
            <a:extLst>
              <a:ext uri="{FF2B5EF4-FFF2-40B4-BE49-F238E27FC236}">
                <a16:creationId xmlns:a16="http://schemas.microsoft.com/office/drawing/2014/main" id="{286E2E12-7911-31E6-5BC5-4C3444A2F8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8191" y="5700814"/>
            <a:ext cx="2657475"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78121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kern="1200" spc="0" dirty="0">
                <a:ea typeface="+mn-ea"/>
                <a:cs typeface="+mn-cs"/>
              </a:rPr>
              <a:t>Fundamental risks</a:t>
            </a:r>
            <a:endParaRPr kumimoji="0" lang="en-GB" sz="2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3" name="Content Placeholder 2"/>
          <p:cNvSpPr>
            <a:spLocks noGrp="1"/>
          </p:cNvSpPr>
          <p:nvPr>
            <p:ph idx="1"/>
          </p:nvPr>
        </p:nvSpPr>
        <p:spPr>
          <a:xfrm>
            <a:off x="314950" y="1137920"/>
            <a:ext cx="10978515" cy="4947920"/>
          </a:xfrm>
        </p:spPr>
        <p:txBody>
          <a:bodyPr/>
          <a:lstStyle/>
          <a:p>
            <a:pPr marL="356616" lvl="1" indent="0">
              <a:buNone/>
            </a:pPr>
            <a:r>
              <a:rPr lang="en-US" sz="2000" dirty="0"/>
              <a:t>Applicable risks with the use of smart contract</a:t>
            </a:r>
          </a:p>
          <a:p>
            <a:pPr marL="356616" lvl="1" indent="0">
              <a:buNone/>
            </a:pPr>
            <a:endParaRPr lang="en-US" sz="2000" dirty="0"/>
          </a:p>
          <a:p>
            <a:pPr marL="713232" lvl="1" indent="-356616">
              <a:lnSpc>
                <a:spcPct val="85000"/>
              </a:lnSpc>
              <a:spcAft>
                <a:spcPts val="600"/>
              </a:spcAft>
              <a:buFont typeface="EYInterstate Light" panose="02000506000000020004" pitchFamily="2" charset="0"/>
              <a:buChar char="•"/>
            </a:pPr>
            <a:r>
              <a:rPr lang="en-US" sz="1600" dirty="0"/>
              <a:t>Security</a:t>
            </a:r>
          </a:p>
          <a:p>
            <a:pPr marL="713232" lvl="1" indent="-356616">
              <a:lnSpc>
                <a:spcPct val="85000"/>
              </a:lnSpc>
              <a:spcAft>
                <a:spcPts val="600"/>
              </a:spcAft>
              <a:buFont typeface="EYInterstate Light" panose="02000506000000020004" pitchFamily="2" charset="0"/>
              <a:buChar char="•"/>
            </a:pPr>
            <a:r>
              <a:rPr lang="en-US" sz="1600" dirty="0"/>
              <a:t>Functionality</a:t>
            </a:r>
          </a:p>
          <a:p>
            <a:pPr marL="713232" lvl="1" indent="-356616">
              <a:lnSpc>
                <a:spcPct val="85000"/>
              </a:lnSpc>
              <a:spcAft>
                <a:spcPts val="600"/>
              </a:spcAft>
              <a:buFont typeface="EYInterstate Light" panose="02000506000000020004" pitchFamily="2" charset="0"/>
              <a:buChar char="•"/>
            </a:pPr>
            <a:r>
              <a:rPr lang="en-US" sz="1600" dirty="0"/>
              <a:t>Quality</a:t>
            </a:r>
          </a:p>
          <a:p>
            <a:pPr marL="713232" lvl="1" indent="-356616">
              <a:lnSpc>
                <a:spcPct val="85000"/>
              </a:lnSpc>
              <a:spcAft>
                <a:spcPts val="600"/>
              </a:spcAft>
              <a:buFont typeface="EYInterstate Light" panose="02000506000000020004" pitchFamily="2" charset="0"/>
              <a:buChar char="•"/>
            </a:pPr>
            <a:r>
              <a:rPr lang="en-US" sz="1600" dirty="0"/>
              <a:t>Efficiency</a:t>
            </a:r>
            <a:endParaRPr lang="en-US" dirty="0"/>
          </a:p>
          <a:p>
            <a:pPr lvl="1"/>
            <a:endParaRPr lang="en-US" dirty="0"/>
          </a:p>
          <a:p>
            <a:pPr marL="356616" lvl="1" indent="0">
              <a:buNone/>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marL="356616" lvl="1" indent="0">
              <a:buNone/>
            </a:pPr>
            <a:endParaRPr lang="en-US" dirty="0"/>
          </a:p>
        </p:txBody>
      </p:sp>
      <p:sp>
        <p:nvSpPr>
          <p:cNvPr id="4" name="Date Placeholder 3">
            <a:extLst>
              <a:ext uri="{FF2B5EF4-FFF2-40B4-BE49-F238E27FC236}">
                <a16:creationId xmlns:a16="http://schemas.microsoft.com/office/drawing/2014/main" id="{19176B58-A66F-4671-B3A7-D4D027DF70F7}"/>
              </a:ext>
            </a:extLst>
          </p:cNvPr>
          <p:cNvSpPr>
            <a:spLocks noGrp="1"/>
          </p:cNvSpPr>
          <p:nvPr>
            <p:ph type="dt" sz="half" idx="10"/>
          </p:nvPr>
        </p:nvSpPr>
        <p:spPr/>
        <p:txBody>
          <a:bodyPr/>
          <a:lstStyle/>
          <a:p>
            <a:fld id="{2D4DB55E-926B-444D-A2ED-C882D9E4FB3A}" type="datetime3">
              <a:rPr lang="en-US" smtClean="0"/>
              <a:t>13 March 2024</a:t>
            </a:fld>
            <a:endParaRPr lang="en-IN" dirty="0"/>
          </a:p>
        </p:txBody>
      </p:sp>
      <p:sp>
        <p:nvSpPr>
          <p:cNvPr id="5" name="Footer Placeholder 4">
            <a:extLst>
              <a:ext uri="{FF2B5EF4-FFF2-40B4-BE49-F238E27FC236}">
                <a16:creationId xmlns:a16="http://schemas.microsoft.com/office/drawing/2014/main" id="{ACC93A25-FE6F-48C0-8A16-12E63F062ECB}"/>
              </a:ext>
            </a:extLst>
          </p:cNvPr>
          <p:cNvSpPr>
            <a:spLocks noGrp="1"/>
          </p:cNvSpPr>
          <p:nvPr>
            <p:ph type="ftr" sz="quarter" idx="11"/>
          </p:nvPr>
        </p:nvSpPr>
        <p:spPr/>
        <p:txBody>
          <a:bodyPr/>
          <a:lstStyle/>
          <a:p>
            <a:r>
              <a:rPr lang="en-US" dirty="0"/>
              <a:t>Smart Contract Analyzer</a:t>
            </a:r>
          </a:p>
        </p:txBody>
      </p:sp>
      <p:sp>
        <p:nvSpPr>
          <p:cNvPr id="6" name="Slide Number Placeholder 5">
            <a:extLst>
              <a:ext uri="{FF2B5EF4-FFF2-40B4-BE49-F238E27FC236}">
                <a16:creationId xmlns:a16="http://schemas.microsoft.com/office/drawing/2014/main" id="{E20DC7B1-48B6-41C5-9771-FF26563EEC73}"/>
              </a:ext>
            </a:extLst>
          </p:cNvPr>
          <p:cNvSpPr>
            <a:spLocks noGrp="1"/>
          </p:cNvSpPr>
          <p:nvPr>
            <p:ph type="sldNum" sz="quarter" idx="12"/>
          </p:nvPr>
        </p:nvSpPr>
        <p:spPr/>
        <p:txBody>
          <a:bodyPr/>
          <a:lstStyle/>
          <a:p>
            <a:r>
              <a:rPr lang="en-GB"/>
              <a:t>Page </a:t>
            </a:r>
            <a:fld id="{F1BC30E3-FFE5-4B91-AA19-87A149EBB9EE}" type="slidenum">
              <a:rPr smtClean="0"/>
              <a:pPr/>
              <a:t>18</a:t>
            </a:fld>
            <a:endParaRPr dirty="0"/>
          </a:p>
        </p:txBody>
      </p:sp>
      <p:pic>
        <p:nvPicPr>
          <p:cNvPr id="7" name="Picture 2" descr="NOREA | NOREA">
            <a:extLst>
              <a:ext uri="{FF2B5EF4-FFF2-40B4-BE49-F238E27FC236}">
                <a16:creationId xmlns:a16="http://schemas.microsoft.com/office/drawing/2014/main" id="{1C1C6EE3-86F7-7B67-ACB1-661A23E252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
        <p:nvSpPr>
          <p:cNvPr id="8" name="Cube 7">
            <a:extLst>
              <a:ext uri="{FF2B5EF4-FFF2-40B4-BE49-F238E27FC236}">
                <a16:creationId xmlns:a16="http://schemas.microsoft.com/office/drawing/2014/main" id="{396EDEF6-7ED8-06D4-B55C-35F0E9E7EEFF}"/>
              </a:ext>
            </a:extLst>
          </p:cNvPr>
          <p:cNvSpPr/>
          <p:nvPr/>
        </p:nvSpPr>
        <p:spPr>
          <a:xfrm>
            <a:off x="6325290" y="5127080"/>
            <a:ext cx="3281080" cy="681801"/>
          </a:xfrm>
          <a:prstGeom prst="cube">
            <a:avLst/>
          </a:prstGeom>
          <a:solidFill>
            <a:schemeClr val="bg2">
              <a:lumMod val="65000"/>
              <a:lumOff val="35000"/>
            </a:schemeClr>
          </a:solidFill>
          <a:ln w="9525" cap="flat" cmpd="sng" algn="ctr">
            <a:solidFill>
              <a:srgbClr val="808080"/>
            </a:solidFill>
            <a:prstDash val="solid"/>
          </a:ln>
          <a:effectLst/>
        </p:spPr>
        <p:txBody>
          <a:bodyPr rtlCol="0" anchor="ctr" anchorCtr="0"/>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8F8F8"/>
                </a:solidFill>
                <a:effectLst/>
                <a:uLnTx/>
                <a:uFillTx/>
              </a:rPr>
              <a:t>Physical</a:t>
            </a:r>
          </a:p>
        </p:txBody>
      </p:sp>
      <p:sp>
        <p:nvSpPr>
          <p:cNvPr id="9" name="Cube 8">
            <a:extLst>
              <a:ext uri="{FF2B5EF4-FFF2-40B4-BE49-F238E27FC236}">
                <a16:creationId xmlns:a16="http://schemas.microsoft.com/office/drawing/2014/main" id="{B70CA978-6F11-9F57-B559-035AE708CB71}"/>
              </a:ext>
            </a:extLst>
          </p:cNvPr>
          <p:cNvSpPr/>
          <p:nvPr/>
        </p:nvSpPr>
        <p:spPr>
          <a:xfrm>
            <a:off x="6325290" y="4380565"/>
            <a:ext cx="3281080" cy="681801"/>
          </a:xfrm>
          <a:prstGeom prst="cube">
            <a:avLst/>
          </a:prstGeom>
          <a:solidFill>
            <a:srgbClr val="FFFFFF">
              <a:lumMod val="65000"/>
            </a:srgbClr>
          </a:solidFill>
          <a:ln w="9525" cap="flat" cmpd="sng" algn="ctr">
            <a:solidFill>
              <a:srgbClr val="808080"/>
            </a:solidFill>
            <a:prstDash val="solid"/>
          </a:ln>
          <a:effectLst/>
        </p:spPr>
        <p:txBody>
          <a:bodyPr rtlCol="0" anchor="ctr" anchorCtr="0"/>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8F8F8"/>
                </a:solidFill>
                <a:effectLst/>
                <a:uLnTx/>
                <a:uFillTx/>
              </a:rPr>
              <a:t>Network</a:t>
            </a:r>
          </a:p>
        </p:txBody>
      </p:sp>
      <p:sp>
        <p:nvSpPr>
          <p:cNvPr id="10" name="Cube 9">
            <a:extLst>
              <a:ext uri="{FF2B5EF4-FFF2-40B4-BE49-F238E27FC236}">
                <a16:creationId xmlns:a16="http://schemas.microsoft.com/office/drawing/2014/main" id="{9CA3FB3D-F9FB-B9C0-A5F9-02370F27CD81}"/>
              </a:ext>
            </a:extLst>
          </p:cNvPr>
          <p:cNvSpPr/>
          <p:nvPr/>
        </p:nvSpPr>
        <p:spPr>
          <a:xfrm>
            <a:off x="6325288" y="2887536"/>
            <a:ext cx="3281083" cy="681801"/>
          </a:xfrm>
          <a:prstGeom prst="cube">
            <a:avLst/>
          </a:prstGeom>
          <a:solidFill>
            <a:srgbClr val="FFE600"/>
          </a:solidFill>
          <a:ln w="9525" cap="flat" cmpd="sng" algn="ctr">
            <a:solidFill>
              <a:srgbClr val="808080"/>
            </a:solidFill>
            <a:prstDash val="solid"/>
          </a:ln>
          <a:effectLst/>
        </p:spPr>
        <p:txBody>
          <a:bodyPr rtlCol="0" anchor="ctr" anchorCtr="0"/>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Smart Contracts</a:t>
            </a:r>
          </a:p>
        </p:txBody>
      </p:sp>
      <p:sp>
        <p:nvSpPr>
          <p:cNvPr id="11" name="Cube 10">
            <a:extLst>
              <a:ext uri="{FF2B5EF4-FFF2-40B4-BE49-F238E27FC236}">
                <a16:creationId xmlns:a16="http://schemas.microsoft.com/office/drawing/2014/main" id="{6659A199-F670-F6C3-1851-1B4A5BA351A0}"/>
              </a:ext>
            </a:extLst>
          </p:cNvPr>
          <p:cNvSpPr/>
          <p:nvPr/>
        </p:nvSpPr>
        <p:spPr>
          <a:xfrm>
            <a:off x="6325288" y="2141022"/>
            <a:ext cx="3281083" cy="681801"/>
          </a:xfrm>
          <a:prstGeom prst="cube">
            <a:avLst/>
          </a:prstGeom>
          <a:solidFill>
            <a:schemeClr val="tx1">
              <a:lumMod val="95000"/>
            </a:schemeClr>
          </a:solidFill>
          <a:ln w="9525" cap="flat" cmpd="sng" algn="ctr">
            <a:solidFill>
              <a:srgbClr val="808080"/>
            </a:solidFill>
            <a:prstDash val="solid"/>
          </a:ln>
          <a:effectLst/>
        </p:spPr>
        <p:txBody>
          <a:bodyPr rtlCol="0" anchor="ctr" anchorCtr="0"/>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lumMod val="50000"/>
                  </a:srgbClr>
                </a:solidFill>
                <a:effectLst/>
                <a:uLnTx/>
                <a:uFillTx/>
              </a:rPr>
              <a:t>Web Application</a:t>
            </a:r>
          </a:p>
        </p:txBody>
      </p:sp>
      <p:sp>
        <p:nvSpPr>
          <p:cNvPr id="12" name="Cube 11">
            <a:extLst>
              <a:ext uri="{FF2B5EF4-FFF2-40B4-BE49-F238E27FC236}">
                <a16:creationId xmlns:a16="http://schemas.microsoft.com/office/drawing/2014/main" id="{04EFC164-344E-FCB6-096D-7FCD28B7382B}"/>
              </a:ext>
            </a:extLst>
          </p:cNvPr>
          <p:cNvSpPr/>
          <p:nvPr/>
        </p:nvSpPr>
        <p:spPr>
          <a:xfrm>
            <a:off x="6325288" y="1394508"/>
            <a:ext cx="3281083" cy="681801"/>
          </a:xfrm>
          <a:prstGeom prst="cube">
            <a:avLst/>
          </a:prstGeom>
          <a:solidFill>
            <a:srgbClr val="FFFFFF">
              <a:lumMod val="95000"/>
            </a:srgbClr>
          </a:solidFill>
          <a:ln w="9525" cap="flat" cmpd="sng" algn="ctr">
            <a:solidFill>
              <a:srgbClr val="808080"/>
            </a:solidFill>
            <a:prstDash val="solid"/>
          </a:ln>
          <a:effectLst/>
        </p:spPr>
        <p:txBody>
          <a:bodyPr rtlCol="0" anchor="ctr" anchorCtr="0"/>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lumMod val="50000"/>
                  </a:srgbClr>
                </a:solidFill>
                <a:effectLst/>
                <a:uLnTx/>
                <a:uFillTx/>
              </a:rPr>
              <a:t>Business Processes</a:t>
            </a:r>
          </a:p>
        </p:txBody>
      </p:sp>
      <p:sp>
        <p:nvSpPr>
          <p:cNvPr id="13" name="Content Placeholder 10">
            <a:extLst>
              <a:ext uri="{FF2B5EF4-FFF2-40B4-BE49-F238E27FC236}">
                <a16:creationId xmlns:a16="http://schemas.microsoft.com/office/drawing/2014/main" id="{BE9DD873-2F9B-9B3C-3C26-D495DDBF484F}"/>
              </a:ext>
            </a:extLst>
          </p:cNvPr>
          <p:cNvSpPr txBox="1">
            <a:spLocks/>
          </p:cNvSpPr>
          <p:nvPr/>
        </p:nvSpPr>
        <p:spPr>
          <a:xfrm>
            <a:off x="609918" y="3686431"/>
            <a:ext cx="5610705" cy="2122450"/>
          </a:xfrm>
          <a:prstGeom prst="rect">
            <a:avLst/>
          </a:prstGeom>
        </p:spPr>
        <p:txBody>
          <a:bodyPr anchor="t"/>
          <a:lst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Clr>
                <a:srgbClr val="FFE600"/>
              </a:buClr>
              <a:buNone/>
            </a:pPr>
            <a:r>
              <a:rPr lang="en-US" sz="1600" dirty="0">
                <a:cs typeface="Arial"/>
              </a:rPr>
              <a:t>Attackers are using existing smart contracts functionality in order to execute attacks</a:t>
            </a:r>
            <a:endParaRPr lang="he-IL" sz="1600" dirty="0">
              <a:cs typeface="Arial"/>
            </a:endParaRPr>
          </a:p>
          <a:p>
            <a:pPr marL="0" indent="0">
              <a:buClr>
                <a:srgbClr val="FFE600"/>
              </a:buClr>
              <a:buNone/>
            </a:pPr>
            <a:endParaRPr lang="en-US" sz="1200" dirty="0">
              <a:solidFill>
                <a:srgbClr val="646464"/>
              </a:solidFill>
              <a:cs typeface="Arial"/>
            </a:endParaRPr>
          </a:p>
        </p:txBody>
      </p:sp>
      <p:sp>
        <p:nvSpPr>
          <p:cNvPr id="14" name="Cube 13">
            <a:extLst>
              <a:ext uri="{FF2B5EF4-FFF2-40B4-BE49-F238E27FC236}">
                <a16:creationId xmlns:a16="http://schemas.microsoft.com/office/drawing/2014/main" id="{EE39B2D7-31E3-B674-9ED5-2F84036B891C}"/>
              </a:ext>
            </a:extLst>
          </p:cNvPr>
          <p:cNvSpPr/>
          <p:nvPr/>
        </p:nvSpPr>
        <p:spPr>
          <a:xfrm>
            <a:off x="6325288" y="3634050"/>
            <a:ext cx="3281083" cy="681802"/>
          </a:xfrm>
          <a:prstGeom prst="cube">
            <a:avLst/>
          </a:prstGeom>
          <a:solidFill>
            <a:schemeClr val="tx1">
              <a:lumMod val="75000"/>
            </a:schemeClr>
          </a:solidFill>
          <a:ln w="9525" cap="flat" cmpd="sng" algn="ctr">
            <a:solidFill>
              <a:srgbClr val="808080"/>
            </a:solidFill>
            <a:prstDash val="solid"/>
          </a:ln>
          <a:effectLst/>
        </p:spPr>
        <p:txBody>
          <a:bodyPr rtlCol="0" anchor="ctr" anchorCtr="0"/>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Blockchai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D9BB6-6445-EC1E-C228-65B24EAA0F4E}"/>
              </a:ext>
            </a:extLst>
          </p:cNvPr>
          <p:cNvSpPr>
            <a:spLocks noGrp="1"/>
          </p:cNvSpPr>
          <p:nvPr>
            <p:ph type="title"/>
          </p:nvPr>
        </p:nvSpPr>
        <p:spPr/>
        <p:txBody>
          <a:bodyPr/>
          <a:lstStyle/>
          <a:p>
            <a:r>
              <a:rPr lang="en-US" sz="2400" dirty="0"/>
              <a:t>Risks materialized</a:t>
            </a:r>
            <a:br>
              <a:rPr lang="en-US" sz="2400" dirty="0"/>
            </a:br>
            <a:endParaRPr lang="nl-NL" dirty="0"/>
          </a:p>
        </p:txBody>
      </p:sp>
      <p:sp>
        <p:nvSpPr>
          <p:cNvPr id="3" name="Content Placeholder 2">
            <a:extLst>
              <a:ext uri="{FF2B5EF4-FFF2-40B4-BE49-F238E27FC236}">
                <a16:creationId xmlns:a16="http://schemas.microsoft.com/office/drawing/2014/main" id="{EF17A2B9-2460-4A6E-13FE-6FEF0D280DEE}"/>
              </a:ext>
            </a:extLst>
          </p:cNvPr>
          <p:cNvSpPr>
            <a:spLocks noGrp="1"/>
          </p:cNvSpPr>
          <p:nvPr>
            <p:ph idx="1"/>
          </p:nvPr>
        </p:nvSpPr>
        <p:spPr/>
        <p:txBody>
          <a:bodyPr/>
          <a:lstStyle/>
          <a:p>
            <a:r>
              <a:rPr lang="en-US" sz="1600" dirty="0"/>
              <a:t>Poly Network hack – 611 Million USD - 2021</a:t>
            </a:r>
          </a:p>
          <a:p>
            <a:endParaRPr lang="en-US" sz="1600" dirty="0"/>
          </a:p>
          <a:p>
            <a:r>
              <a:rPr lang="en-US" sz="1600" dirty="0"/>
              <a:t>Ethereum hack – 3,6 million Ether (10b atm) - 2016</a:t>
            </a:r>
          </a:p>
          <a:p>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600" dirty="0"/>
              <a:t>YAM Finance – 65 million USD – 2020</a:t>
            </a:r>
          </a:p>
          <a:p>
            <a:endParaRPr lang="en-US" sz="1600" dirty="0"/>
          </a:p>
          <a:p>
            <a:r>
              <a:rPr lang="en-US" sz="1600" dirty="0"/>
              <a:t>Parity Wallet - 150 million USD - 2020</a:t>
            </a:r>
          </a:p>
          <a:p>
            <a:endParaRPr lang="en-US" sz="1600" dirty="0"/>
          </a:p>
          <a:p>
            <a:r>
              <a:rPr lang="en-US" sz="1600" dirty="0"/>
              <a:t>Typos – 36 Million USD </a:t>
            </a:r>
          </a:p>
          <a:p>
            <a:endParaRPr lang="en-US" sz="1600" dirty="0"/>
          </a:p>
          <a:p>
            <a:r>
              <a:rPr lang="en-US" sz="1600" dirty="0"/>
              <a:t>Infinitive loop bug - 300.000 USD</a:t>
            </a:r>
            <a:endParaRPr lang="nl-NL" b="1" dirty="0"/>
          </a:p>
        </p:txBody>
      </p:sp>
      <p:sp>
        <p:nvSpPr>
          <p:cNvPr id="4" name="Date Placeholder 3">
            <a:extLst>
              <a:ext uri="{FF2B5EF4-FFF2-40B4-BE49-F238E27FC236}">
                <a16:creationId xmlns:a16="http://schemas.microsoft.com/office/drawing/2014/main" id="{AD2CAA59-AFE7-89CA-AC3E-19F8C9CB074B}"/>
              </a:ext>
            </a:extLst>
          </p:cNvPr>
          <p:cNvSpPr>
            <a:spLocks noGrp="1"/>
          </p:cNvSpPr>
          <p:nvPr>
            <p:ph type="dt" sz="half" idx="10"/>
          </p:nvPr>
        </p:nvSpPr>
        <p:spPr/>
        <p:txBody>
          <a:bodyPr/>
          <a:lstStyle/>
          <a:p>
            <a:fld id="{C02F53D5-8456-47FA-82FD-09E81657A037}" type="datetime3">
              <a:rPr lang="en-US" smtClean="0"/>
              <a:t>13 March 2024</a:t>
            </a:fld>
            <a:endParaRPr lang="en-IN" dirty="0"/>
          </a:p>
        </p:txBody>
      </p:sp>
      <p:sp>
        <p:nvSpPr>
          <p:cNvPr id="5" name="Footer Placeholder 4">
            <a:extLst>
              <a:ext uri="{FF2B5EF4-FFF2-40B4-BE49-F238E27FC236}">
                <a16:creationId xmlns:a16="http://schemas.microsoft.com/office/drawing/2014/main" id="{5C977313-B9D0-9FE2-05D1-75FAF32DE3CE}"/>
              </a:ext>
            </a:extLst>
          </p:cNvPr>
          <p:cNvSpPr>
            <a:spLocks noGrp="1"/>
          </p:cNvSpPr>
          <p:nvPr>
            <p:ph type="ftr" sz="quarter" idx="11"/>
          </p:nvPr>
        </p:nvSpPr>
        <p:spPr/>
        <p:txBody>
          <a:bodyPr/>
          <a:lstStyle/>
          <a:p>
            <a:r>
              <a:rPr lang="en-IN" dirty="0"/>
              <a:t>Smart Contract Analyzer</a:t>
            </a:r>
          </a:p>
        </p:txBody>
      </p:sp>
      <p:sp>
        <p:nvSpPr>
          <p:cNvPr id="6" name="Slide Number Placeholder 5">
            <a:extLst>
              <a:ext uri="{FF2B5EF4-FFF2-40B4-BE49-F238E27FC236}">
                <a16:creationId xmlns:a16="http://schemas.microsoft.com/office/drawing/2014/main" id="{7039489E-102B-BD04-91C8-0483FD75AAAD}"/>
              </a:ext>
            </a:extLst>
          </p:cNvPr>
          <p:cNvSpPr>
            <a:spLocks noGrp="1"/>
          </p:cNvSpPr>
          <p:nvPr>
            <p:ph type="sldNum" sz="quarter" idx="12"/>
          </p:nvPr>
        </p:nvSpPr>
        <p:spPr/>
        <p:txBody>
          <a:bodyPr/>
          <a:lstStyle/>
          <a:p>
            <a:r>
              <a:rPr lang="en-IN"/>
              <a:t>Page </a:t>
            </a:r>
            <a:fld id="{F1BC30E3-FFE5-4B91-AA19-87A149EBB9EE}" type="slidenum">
              <a:rPr smtClean="0"/>
              <a:pPr/>
              <a:t>19</a:t>
            </a:fld>
            <a:endParaRPr dirty="0"/>
          </a:p>
        </p:txBody>
      </p:sp>
      <p:pic>
        <p:nvPicPr>
          <p:cNvPr id="7" name="Picture 2" descr="NOREA | NOREA">
            <a:extLst>
              <a:ext uri="{FF2B5EF4-FFF2-40B4-BE49-F238E27FC236}">
                <a16:creationId xmlns:a16="http://schemas.microsoft.com/office/drawing/2014/main" id="{C7B798D3-842B-A538-FFAF-B084E80E29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8724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Contents</a:t>
            </a:r>
          </a:p>
        </p:txBody>
      </p:sp>
      <p:sp>
        <p:nvSpPr>
          <p:cNvPr id="13" name="Text Placeholder 12">
            <a:extLst>
              <a:ext uri="{FF2B5EF4-FFF2-40B4-BE49-F238E27FC236}">
                <a16:creationId xmlns:a16="http://schemas.microsoft.com/office/drawing/2014/main" id="{E2740916-D1BA-4BAB-829F-7597C2BE72CE}"/>
              </a:ext>
            </a:extLst>
          </p:cNvPr>
          <p:cNvSpPr>
            <a:spLocks noGrp="1"/>
          </p:cNvSpPr>
          <p:nvPr>
            <p:ph type="body" sz="quarter" idx="14"/>
          </p:nvPr>
        </p:nvSpPr>
        <p:spPr>
          <a:xfrm>
            <a:off x="7438261" y="2142159"/>
            <a:ext cx="3089275" cy="180000"/>
          </a:xfrm>
        </p:spPr>
        <p:txBody>
          <a:bodyPr>
            <a:normAutofit lnSpcReduction="10000"/>
          </a:bodyPr>
          <a:lstStyle/>
          <a:p>
            <a:r>
              <a:rPr lang="en-IN" b="1" dirty="0"/>
              <a:t>Kees Schonebaum</a:t>
            </a:r>
          </a:p>
        </p:txBody>
      </p:sp>
      <p:sp>
        <p:nvSpPr>
          <p:cNvPr id="14" name="Text Placeholder 13">
            <a:extLst>
              <a:ext uri="{FF2B5EF4-FFF2-40B4-BE49-F238E27FC236}">
                <a16:creationId xmlns:a16="http://schemas.microsoft.com/office/drawing/2014/main" id="{B99402F2-BC60-4F1A-A271-032A317F6EB7}"/>
              </a:ext>
            </a:extLst>
          </p:cNvPr>
          <p:cNvSpPr>
            <a:spLocks noGrp="1"/>
          </p:cNvSpPr>
          <p:nvPr>
            <p:ph type="body" sz="quarter" idx="15"/>
          </p:nvPr>
        </p:nvSpPr>
        <p:spPr>
          <a:xfrm>
            <a:off x="7438261" y="2384802"/>
            <a:ext cx="3089275" cy="180000"/>
          </a:xfrm>
        </p:spPr>
        <p:txBody>
          <a:bodyPr>
            <a:normAutofit/>
          </a:bodyPr>
          <a:lstStyle/>
          <a:p>
            <a:r>
              <a:rPr lang="en-IN" sz="1050" dirty="0"/>
              <a:t>EY Digital Risk &amp; Resilience</a:t>
            </a:r>
          </a:p>
        </p:txBody>
      </p:sp>
      <p:pic>
        <p:nvPicPr>
          <p:cNvPr id="10" name="Picture Placeholder 9">
            <a:extLst>
              <a:ext uri="{FF2B5EF4-FFF2-40B4-BE49-F238E27FC236}">
                <a16:creationId xmlns:a16="http://schemas.microsoft.com/office/drawing/2014/main" id="{875C4B0B-2280-4997-A57D-267BBAD691A3}"/>
              </a:ext>
            </a:extLst>
          </p:cNvPr>
          <p:cNvPicPr>
            <a:picLocks noGrp="1" noChangeAspect="1"/>
          </p:cNvPicPr>
          <p:nvPr>
            <p:ph type="pic" sz="quarter" idx="16"/>
          </p:nvPr>
        </p:nvPicPr>
        <p:blipFill>
          <a:blip r:embed="rId2" cstate="print">
            <a:extLst>
              <a:ext uri="{28A0092B-C50C-407E-A947-70E740481C1C}">
                <a14:useLocalDpi xmlns:a14="http://schemas.microsoft.com/office/drawing/2010/main" val="0"/>
              </a:ext>
            </a:extLst>
          </a:blip>
          <a:srcRect t="11105" b="11105"/>
          <a:stretch/>
        </p:blipFill>
        <p:spPr>
          <a:xfrm>
            <a:off x="6480342" y="1988131"/>
            <a:ext cx="778959" cy="7789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Date Placeholder 1">
            <a:extLst>
              <a:ext uri="{FF2B5EF4-FFF2-40B4-BE49-F238E27FC236}">
                <a16:creationId xmlns:a16="http://schemas.microsoft.com/office/drawing/2014/main" id="{3DB057CF-B986-41E6-95A7-219156C02807}"/>
              </a:ext>
            </a:extLst>
          </p:cNvPr>
          <p:cNvSpPr>
            <a:spLocks noGrp="1"/>
          </p:cNvSpPr>
          <p:nvPr>
            <p:ph type="dt" sz="half" idx="19"/>
          </p:nvPr>
        </p:nvSpPr>
        <p:spPr/>
        <p:txBody>
          <a:bodyPr/>
          <a:lstStyle/>
          <a:p>
            <a:fld id="{EE4B38F6-D05E-41F5-BA4A-314DDE44835F}" type="datetime3">
              <a:rPr lang="en-US" smtClean="0"/>
              <a:t>13 March 2024</a:t>
            </a:fld>
            <a:endParaRPr lang="en-IN" dirty="0"/>
          </a:p>
        </p:txBody>
      </p:sp>
      <p:sp>
        <p:nvSpPr>
          <p:cNvPr id="5" name="Slide Number Placeholder 4">
            <a:extLst>
              <a:ext uri="{FF2B5EF4-FFF2-40B4-BE49-F238E27FC236}">
                <a16:creationId xmlns:a16="http://schemas.microsoft.com/office/drawing/2014/main" id="{2E898AE0-B817-48DB-9976-758677586103}"/>
              </a:ext>
            </a:extLst>
          </p:cNvPr>
          <p:cNvSpPr>
            <a:spLocks noGrp="1"/>
          </p:cNvSpPr>
          <p:nvPr>
            <p:ph type="sldNum" sz="quarter" idx="21"/>
          </p:nvPr>
        </p:nvSpPr>
        <p:spPr/>
        <p:txBody>
          <a:bodyPr/>
          <a:lstStyle/>
          <a:p>
            <a:r>
              <a:rPr lang="en-GB"/>
              <a:t>Page </a:t>
            </a:r>
            <a:fld id="{F1BC30E3-FFE5-4B91-AA19-87A149EBB9EE}" type="slidenum">
              <a:rPr smtClean="0"/>
              <a:pPr/>
              <a:t>2</a:t>
            </a:fld>
            <a:endParaRPr dirty="0"/>
          </a:p>
        </p:txBody>
      </p:sp>
      <p:sp>
        <p:nvSpPr>
          <p:cNvPr id="6" name="Text Placeholder 12">
            <a:extLst>
              <a:ext uri="{FF2B5EF4-FFF2-40B4-BE49-F238E27FC236}">
                <a16:creationId xmlns:a16="http://schemas.microsoft.com/office/drawing/2014/main" id="{B0DCA2BB-2827-F860-1B05-5B74381E447D}"/>
              </a:ext>
            </a:extLst>
          </p:cNvPr>
          <p:cNvSpPr txBox="1">
            <a:spLocks/>
          </p:cNvSpPr>
          <p:nvPr/>
        </p:nvSpPr>
        <p:spPr>
          <a:xfrm>
            <a:off x="7438261" y="3351571"/>
            <a:ext cx="3089275" cy="180000"/>
          </a:xfrm>
          <a:prstGeom prst="rect">
            <a:avLst/>
          </a:prstGeom>
        </p:spPr>
        <p:txBody>
          <a:bodyPr vert="horz" lIns="0" tIns="0" rIns="0" bIns="0" rtlCol="0" anchor="t" anchorCtr="0">
            <a:normAutofit lnSpcReduction="10000"/>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00" spc="20" baseline="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00" spc="20" baseline="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00" spc="20" baseline="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b="1" dirty="0"/>
              <a:t>Michel Bernsen</a:t>
            </a:r>
          </a:p>
        </p:txBody>
      </p:sp>
      <p:sp>
        <p:nvSpPr>
          <p:cNvPr id="7" name="Text Placeholder 13">
            <a:extLst>
              <a:ext uri="{FF2B5EF4-FFF2-40B4-BE49-F238E27FC236}">
                <a16:creationId xmlns:a16="http://schemas.microsoft.com/office/drawing/2014/main" id="{B243A09F-8DE7-1022-778B-BFD2D2A7A8D7}"/>
              </a:ext>
            </a:extLst>
          </p:cNvPr>
          <p:cNvSpPr txBox="1">
            <a:spLocks/>
          </p:cNvSpPr>
          <p:nvPr/>
        </p:nvSpPr>
        <p:spPr>
          <a:xfrm>
            <a:off x="7438261" y="3594213"/>
            <a:ext cx="3254760" cy="444231"/>
          </a:xfrm>
          <a:prstGeom prst="rect">
            <a:avLst/>
          </a:prstGeom>
        </p:spPr>
        <p:txBody>
          <a:bodyPr vert="horz" lIns="0" tIns="0" rIns="0" bIns="0" rtlCol="0" anchor="t" anchorCtr="0">
            <a:norm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00" spc="20" baseline="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00" spc="20" baseline="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00" spc="20" baseline="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050" dirty="0"/>
              <a:t>EY Digital Risk &amp; Resilience</a:t>
            </a:r>
          </a:p>
          <a:p>
            <a:r>
              <a:rPr lang="en-IN" sz="1050" dirty="0"/>
              <a:t>NOREA </a:t>
            </a:r>
            <a:r>
              <a:rPr lang="en-IN" sz="1050" dirty="0" err="1"/>
              <a:t>werkgroep</a:t>
            </a:r>
            <a:r>
              <a:rPr lang="en-IN" sz="1050" dirty="0"/>
              <a:t> blockchain</a:t>
            </a:r>
          </a:p>
        </p:txBody>
      </p:sp>
      <p:pic>
        <p:nvPicPr>
          <p:cNvPr id="8" name="Picture Placeholder 9">
            <a:extLst>
              <a:ext uri="{FF2B5EF4-FFF2-40B4-BE49-F238E27FC236}">
                <a16:creationId xmlns:a16="http://schemas.microsoft.com/office/drawing/2014/main" id="{E1EED027-29AF-91D4-225C-CB6A76137869}"/>
              </a:ext>
            </a:extLst>
          </p:cNvPr>
          <p:cNvPicPr>
            <a:picLocks noChangeAspect="1"/>
          </p:cNvPicPr>
          <p:nvPr/>
        </p:nvPicPr>
        <p:blipFill>
          <a:blip r:embed="rId3" cstate="print">
            <a:extLst>
              <a:ext uri="{28A0092B-C50C-407E-A947-70E740481C1C}">
                <a14:useLocalDpi xmlns:a14="http://schemas.microsoft.com/office/drawing/2010/main" val="0"/>
              </a:ext>
            </a:extLst>
          </a:blip>
          <a:srcRect l="3733" r="3733"/>
          <a:stretch/>
        </p:blipFill>
        <p:spPr>
          <a:xfrm>
            <a:off x="6480342" y="3197543"/>
            <a:ext cx="778959" cy="7789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2" descr="NOREA | NOREA">
            <a:extLst>
              <a:ext uri="{FF2B5EF4-FFF2-40B4-BE49-F238E27FC236}">
                <a16:creationId xmlns:a16="http://schemas.microsoft.com/office/drawing/2014/main" id="{B467DFB5-881E-2184-9C1F-7CB4480D07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Content Placeholder 20">
            <a:extLst>
              <a:ext uri="{FF2B5EF4-FFF2-40B4-BE49-F238E27FC236}">
                <a16:creationId xmlns:a16="http://schemas.microsoft.com/office/drawing/2014/main" id="{C5E073B2-02BC-B2B5-5C73-25C66EEF0930}"/>
              </a:ext>
            </a:extLst>
          </p:cNvPr>
          <p:cNvGraphicFramePr>
            <a:graphicFrameLocks/>
          </p:cNvGraphicFramePr>
          <p:nvPr>
            <p:extLst>
              <p:ext uri="{D42A27DB-BD31-4B8C-83A1-F6EECF244321}">
                <p14:modId xmlns:p14="http://schemas.microsoft.com/office/powerpoint/2010/main" val="764790792"/>
              </p:ext>
            </p:extLst>
          </p:nvPr>
        </p:nvGraphicFramePr>
        <p:xfrm>
          <a:off x="6424443" y="1170765"/>
          <a:ext cx="1509676" cy="429061"/>
        </p:xfrm>
        <a:graphic>
          <a:graphicData uri="http://schemas.openxmlformats.org/drawingml/2006/table">
            <a:tbl>
              <a:tblPr firstRow="1" bandRow="1"/>
              <a:tblGrid>
                <a:gridCol w="1509676">
                  <a:extLst>
                    <a:ext uri="{9D8B030D-6E8A-4147-A177-3AD203B41FA5}">
                      <a16:colId xmlns:a16="http://schemas.microsoft.com/office/drawing/2014/main" val="20000"/>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GB" sz="1600" b="1" dirty="0" err="1">
                          <a:solidFill>
                            <a:schemeClr val="bg1"/>
                          </a:solidFill>
                          <a:latin typeface="EYInterstate Light" panose="02000506000000020004" pitchFamily="2" charset="0"/>
                        </a:rPr>
                        <a:t>Sprekers</a:t>
                      </a:r>
                      <a:endParaRPr lang="en-GB" sz="1600" b="1"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2" name="Content Placeholder 20">
            <a:extLst>
              <a:ext uri="{FF2B5EF4-FFF2-40B4-BE49-F238E27FC236}">
                <a16:creationId xmlns:a16="http://schemas.microsoft.com/office/drawing/2014/main" id="{1EC2CB33-BF54-390C-9188-68B7C92EDE93}"/>
              </a:ext>
            </a:extLst>
          </p:cNvPr>
          <p:cNvGraphicFramePr>
            <a:graphicFrameLocks/>
          </p:cNvGraphicFramePr>
          <p:nvPr>
            <p:extLst>
              <p:ext uri="{D42A27DB-BD31-4B8C-83A1-F6EECF244321}">
                <p14:modId xmlns:p14="http://schemas.microsoft.com/office/powerpoint/2010/main" val="2805587627"/>
              </p:ext>
            </p:extLst>
          </p:nvPr>
        </p:nvGraphicFramePr>
        <p:xfrm>
          <a:off x="755608" y="1242923"/>
          <a:ext cx="4954613" cy="2606919"/>
        </p:xfrm>
        <a:graphic>
          <a:graphicData uri="http://schemas.openxmlformats.org/drawingml/2006/table">
            <a:tbl>
              <a:tblPr firstRow="1" bandRow="1"/>
              <a:tblGrid>
                <a:gridCol w="329665">
                  <a:extLst>
                    <a:ext uri="{9D8B030D-6E8A-4147-A177-3AD203B41FA5}">
                      <a16:colId xmlns:a16="http://schemas.microsoft.com/office/drawing/2014/main" val="20000"/>
                    </a:ext>
                  </a:extLst>
                </a:gridCol>
                <a:gridCol w="3743169">
                  <a:extLst>
                    <a:ext uri="{9D8B030D-6E8A-4147-A177-3AD203B41FA5}">
                      <a16:colId xmlns:a16="http://schemas.microsoft.com/office/drawing/2014/main" val="20001"/>
                    </a:ext>
                  </a:extLst>
                </a:gridCol>
                <a:gridCol w="881779">
                  <a:extLst>
                    <a:ext uri="{9D8B030D-6E8A-4147-A177-3AD203B41FA5}">
                      <a16:colId xmlns:a16="http://schemas.microsoft.com/office/drawing/2014/main" val="822315179"/>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GB" sz="1600" b="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GB" sz="1600" b="0" dirty="0">
                          <a:solidFill>
                            <a:schemeClr val="bg1"/>
                          </a:solidFill>
                          <a:latin typeface="EYInterstate Light" panose="02000506000000020004" pitchFamily="2" charset="0"/>
                        </a:rPr>
                        <a:t>Introduction</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b="0" dirty="0">
                          <a:solidFill>
                            <a:schemeClr val="bg1"/>
                          </a:solidFill>
                          <a:latin typeface="EYInterstate Light" panose="02000506000000020004" pitchFamily="2" charset="0"/>
                        </a:rPr>
                        <a:t>10 min</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p>
                      <a:pPr algn="l"/>
                      <a:r>
                        <a:rPr lang="en-GB" sz="1600" b="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b="0" dirty="0">
                          <a:solidFill>
                            <a:schemeClr val="bg1"/>
                          </a:solidFill>
                          <a:latin typeface="EYInterstate Light" panose="02000506000000020004" pitchFamily="2" charset="0"/>
                        </a:rPr>
                        <a:t>Blockchain explained</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b="0" dirty="0">
                          <a:solidFill>
                            <a:schemeClr val="bg1"/>
                          </a:solidFill>
                          <a:latin typeface="EYInterstate Light" panose="02000506000000020004" pitchFamily="2" charset="0"/>
                        </a:rPr>
                        <a:t>10 min</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518453"/>
                  </a:ext>
                </a:extLst>
              </a:tr>
              <a:tr h="47122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GB" sz="1600" b="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600" b="0" dirty="0">
                          <a:solidFill>
                            <a:schemeClr val="bg1"/>
                          </a:solidFill>
                          <a:latin typeface="EYInterstate Light" panose="02000506000000020004" pitchFamily="2" charset="0"/>
                        </a:rPr>
                        <a:t>Smart contracts explained</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55934" rtl="0" eaLnBrk="1" fontAlgn="auto" latinLnBrk="0" hangingPunct="1">
                        <a:lnSpc>
                          <a:spcPct val="100000"/>
                        </a:lnSpc>
                        <a:spcBef>
                          <a:spcPts val="0"/>
                        </a:spcBef>
                        <a:spcAft>
                          <a:spcPts val="0"/>
                        </a:spcAft>
                        <a:buClrTx/>
                        <a:buSzTx/>
                        <a:buFontTx/>
                        <a:buNone/>
                        <a:tabLst/>
                        <a:defRPr/>
                      </a:pPr>
                      <a:r>
                        <a:rPr lang="en-GB" sz="1600" b="0" dirty="0">
                          <a:solidFill>
                            <a:schemeClr val="bg1"/>
                          </a:solidFill>
                          <a:latin typeface="EYInterstate Light" panose="02000506000000020004" pitchFamily="2" charset="0"/>
                        </a:rPr>
                        <a:t>10 min</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9449">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GB" sz="1600" b="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Smart contract risk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10 min</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GB" sz="1600" b="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Risk mitigation best practice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10 min</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5644575"/>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GB" sz="1600" b="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Q &amp; A</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10 min</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6415448"/>
                  </a:ext>
                </a:extLst>
              </a:tr>
            </a:tbl>
          </a:graphicData>
        </a:graphic>
      </p:graphicFrame>
    </p:spTree>
    <p:extLst>
      <p:ext uri="{BB962C8B-B14F-4D97-AF65-F5344CB8AC3E}">
        <p14:creationId xmlns:p14="http://schemas.microsoft.com/office/powerpoint/2010/main" val="1290148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dirty="0"/>
              <a:t>Risk mitigation best practices</a:t>
            </a:r>
          </a:p>
        </p:txBody>
      </p:sp>
      <p:pic>
        <p:nvPicPr>
          <p:cNvPr id="3" name="Picture 2" descr="NOREA | NOREA">
            <a:extLst>
              <a:ext uri="{FF2B5EF4-FFF2-40B4-BE49-F238E27FC236}">
                <a16:creationId xmlns:a16="http://schemas.microsoft.com/office/drawing/2014/main" id="{198BC3EC-50F5-765E-8A55-7E228ACFF9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8191" y="5700814"/>
            <a:ext cx="2657475"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93584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auditing &amp; secure development</a:t>
            </a:r>
          </a:p>
        </p:txBody>
      </p:sp>
      <p:sp>
        <p:nvSpPr>
          <p:cNvPr id="11" name="Content Placeholder 2">
            <a:extLst>
              <a:ext uri="{FF2B5EF4-FFF2-40B4-BE49-F238E27FC236}">
                <a16:creationId xmlns:a16="http://schemas.microsoft.com/office/drawing/2014/main" id="{C89DE20B-F4EA-2D0B-A36B-954E365243CB}"/>
              </a:ext>
            </a:extLst>
          </p:cNvPr>
          <p:cNvSpPr>
            <a:spLocks noGrp="1"/>
          </p:cNvSpPr>
          <p:nvPr>
            <p:ph sz="quarter" idx="13"/>
          </p:nvPr>
        </p:nvSpPr>
        <p:spPr>
          <a:xfrm>
            <a:off x="289068" y="1078606"/>
            <a:ext cx="11387855" cy="2791370"/>
          </a:xfrm>
        </p:spPr>
        <p:txBody>
          <a:bodyPr/>
          <a:lstStyle/>
          <a:p>
            <a:pPr marL="713232" lvl="1" indent="-356616">
              <a:lnSpc>
                <a:spcPct val="85000"/>
              </a:lnSpc>
              <a:spcAft>
                <a:spcPts val="600"/>
              </a:spcAft>
              <a:buFont typeface="EYInterstate Light" panose="02000506000000020004" pitchFamily="2" charset="0"/>
              <a:buChar char="•"/>
            </a:pPr>
            <a:r>
              <a:rPr lang="en-US" sz="1600" dirty="0"/>
              <a:t>Automated Testing</a:t>
            </a:r>
          </a:p>
          <a:p>
            <a:pPr marL="713232" lvl="1" indent="-356616">
              <a:lnSpc>
                <a:spcPct val="85000"/>
              </a:lnSpc>
              <a:spcAft>
                <a:spcPts val="600"/>
              </a:spcAft>
              <a:buFont typeface="EYInterstate Light" panose="02000506000000020004" pitchFamily="2" charset="0"/>
              <a:buChar char="•"/>
            </a:pPr>
            <a:r>
              <a:rPr lang="en-US" sz="1600" dirty="0"/>
              <a:t>Smart Contract Audits</a:t>
            </a:r>
          </a:p>
          <a:p>
            <a:pPr marL="713232" lvl="1" indent="-356616">
              <a:lnSpc>
                <a:spcPct val="85000"/>
              </a:lnSpc>
              <a:spcAft>
                <a:spcPts val="600"/>
              </a:spcAft>
              <a:buFont typeface="EYInterstate Light" panose="02000506000000020004" pitchFamily="2" charset="0"/>
              <a:buChar char="•"/>
            </a:pPr>
            <a:r>
              <a:rPr lang="en-US" sz="1600" dirty="0"/>
              <a:t>Peer Review</a:t>
            </a:r>
          </a:p>
          <a:p>
            <a:pPr marL="713232" lvl="1" indent="-356616">
              <a:lnSpc>
                <a:spcPct val="85000"/>
              </a:lnSpc>
              <a:spcAft>
                <a:spcPts val="600"/>
              </a:spcAft>
              <a:buFont typeface="EYInterstate Light" panose="02000506000000020004" pitchFamily="2" charset="0"/>
              <a:buChar char="•"/>
            </a:pPr>
            <a:r>
              <a:rPr lang="en-US" sz="1600" dirty="0"/>
              <a:t>Follow established patterns</a:t>
            </a:r>
          </a:p>
          <a:p>
            <a:pPr marL="713232" lvl="1" indent="-356616">
              <a:lnSpc>
                <a:spcPct val="85000"/>
              </a:lnSpc>
              <a:spcAft>
                <a:spcPts val="600"/>
              </a:spcAft>
              <a:buFont typeface="EYInterstate Light" panose="02000506000000020004" pitchFamily="2" charset="0"/>
              <a:buChar char="•"/>
            </a:pPr>
            <a:r>
              <a:rPr lang="en-US" sz="1600" dirty="0"/>
              <a:t>Limit Complexity</a:t>
            </a:r>
          </a:p>
          <a:p>
            <a:pPr marL="713232" lvl="1" indent="-356616">
              <a:lnSpc>
                <a:spcPct val="85000"/>
              </a:lnSpc>
              <a:spcAft>
                <a:spcPts val="600"/>
              </a:spcAft>
              <a:buFont typeface="EYInterstate Light" panose="02000506000000020004" pitchFamily="2" charset="0"/>
              <a:buChar char="•"/>
            </a:pPr>
            <a:endParaRPr lang="en-US" sz="1600" dirty="0"/>
          </a:p>
          <a:p>
            <a:endParaRPr lang="en-IN" sz="2400" dirty="0"/>
          </a:p>
          <a:p>
            <a:pPr marL="0" indent="0">
              <a:buNone/>
            </a:pPr>
            <a:endParaRPr lang="en-IN" sz="2400" dirty="0"/>
          </a:p>
        </p:txBody>
      </p:sp>
      <p:pic>
        <p:nvPicPr>
          <p:cNvPr id="3" name="Picture 2" descr="NOREA | NOREA">
            <a:extLst>
              <a:ext uri="{FF2B5EF4-FFF2-40B4-BE49-F238E27FC236}">
                <a16:creationId xmlns:a16="http://schemas.microsoft.com/office/drawing/2014/main" id="{71A85438-27DE-F6CD-11DA-007383F6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F49A5889-EAAA-133F-BAEF-C35D87B81936}"/>
              </a:ext>
            </a:extLst>
          </p:cNvPr>
          <p:cNvSpPr txBox="1">
            <a:spLocks/>
          </p:cNvSpPr>
          <p:nvPr/>
        </p:nvSpPr>
        <p:spPr>
          <a:xfrm>
            <a:off x="609918" y="3364659"/>
            <a:ext cx="10978515"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00" spc="20" baseline="0">
                <a:solidFill>
                  <a:schemeClr val="bg1"/>
                </a:solidFill>
                <a:latin typeface="EYInterstate Light" panose="02000506000000020004" pitchFamily="2" charset="0"/>
                <a:ea typeface="+mj-ea"/>
                <a:cs typeface="Arial" pitchFamily="34" charset="0"/>
              </a:defRPr>
            </a:lvl1pPr>
          </a:lstStyle>
          <a:p>
            <a:r>
              <a:rPr lang="en-US" dirty="0"/>
              <a:t>Other best practices</a:t>
            </a:r>
          </a:p>
        </p:txBody>
      </p:sp>
      <p:sp>
        <p:nvSpPr>
          <p:cNvPr id="5" name="Content Placeholder 5">
            <a:extLst>
              <a:ext uri="{FF2B5EF4-FFF2-40B4-BE49-F238E27FC236}">
                <a16:creationId xmlns:a16="http://schemas.microsoft.com/office/drawing/2014/main" id="{F37BC541-A491-D014-8AB3-F964E65E20DF}"/>
              </a:ext>
            </a:extLst>
          </p:cNvPr>
          <p:cNvSpPr txBox="1">
            <a:spLocks/>
          </p:cNvSpPr>
          <p:nvPr/>
        </p:nvSpPr>
        <p:spPr>
          <a:xfrm>
            <a:off x="307532" y="3823050"/>
            <a:ext cx="10971212" cy="4946400"/>
          </a:xfrm>
          <a:prstGeom prst="rect">
            <a:avLst/>
          </a:prstGeom>
        </p:spPr>
        <p:txBody>
          <a:bodyPr vert="horz" lIns="0" tIns="0" rIns="0" bIns="0" rtlCol="0" anchor="t" anchorCtr="0">
            <a:noAutofit/>
          </a:bodyPr>
          <a:lstStyle>
            <a:lvl1pPr marL="0" indent="0" algn="l" defTabSz="914400" rtl="0" eaLnBrk="1" latinLnBrk="0" hangingPunct="1">
              <a:spcBef>
                <a:spcPct val="20000"/>
              </a:spcBef>
              <a:buClr>
                <a:schemeClr val="tx2"/>
              </a:buClr>
              <a:buSzPct val="110000"/>
              <a:buFontTx/>
              <a:buNone/>
              <a:defRPr sz="20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Tx/>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Tx/>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Tx/>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Tx/>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3232" lvl="1" indent="-356616">
              <a:lnSpc>
                <a:spcPct val="85000"/>
              </a:lnSpc>
              <a:spcAft>
                <a:spcPts val="600"/>
              </a:spcAft>
              <a:buFont typeface="EYInterstate Light" panose="02000506000000020004" pitchFamily="2" charset="0"/>
              <a:buChar char="•"/>
            </a:pPr>
            <a:r>
              <a:rPr lang="en-US" sz="1600" dirty="0"/>
              <a:t>Bug Bounties</a:t>
            </a:r>
          </a:p>
          <a:p>
            <a:pPr marL="713232" lvl="1" indent="-356616">
              <a:lnSpc>
                <a:spcPct val="85000"/>
              </a:lnSpc>
              <a:spcAft>
                <a:spcPts val="600"/>
              </a:spcAft>
              <a:buFont typeface="EYInterstate Light" panose="02000506000000020004" pitchFamily="2" charset="0"/>
              <a:buChar char="•"/>
            </a:pPr>
            <a:r>
              <a:rPr lang="en-US" sz="1600" dirty="0"/>
              <a:t>Time Locks</a:t>
            </a:r>
          </a:p>
          <a:p>
            <a:pPr marL="713232" lvl="1" indent="-356616">
              <a:lnSpc>
                <a:spcPct val="85000"/>
              </a:lnSpc>
              <a:spcAft>
                <a:spcPts val="600"/>
              </a:spcAft>
              <a:buFont typeface="EYInterstate Light" panose="02000506000000020004" pitchFamily="2" charset="0"/>
              <a:buChar char="•"/>
            </a:pPr>
            <a:r>
              <a:rPr lang="en-US" sz="1600" dirty="0"/>
              <a:t>Multi-signature Wallets</a:t>
            </a:r>
          </a:p>
          <a:p>
            <a:pPr marL="713232" lvl="1" indent="-356616">
              <a:lnSpc>
                <a:spcPct val="85000"/>
              </a:lnSpc>
              <a:spcAft>
                <a:spcPts val="600"/>
              </a:spcAft>
              <a:buFont typeface="EYInterstate Light" panose="02000506000000020004" pitchFamily="2" charset="0"/>
              <a:buChar char="•"/>
            </a:pPr>
            <a:r>
              <a:rPr lang="en-US" sz="1600" dirty="0"/>
              <a:t>Upgradable Contracts</a:t>
            </a:r>
            <a:endParaRPr lang="nl-NL" sz="1600" dirty="0"/>
          </a:p>
        </p:txBody>
      </p:sp>
    </p:spTree>
    <p:extLst>
      <p:ext uri="{BB962C8B-B14F-4D97-AF65-F5344CB8AC3E}">
        <p14:creationId xmlns:p14="http://schemas.microsoft.com/office/powerpoint/2010/main" val="3029945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Arrow Connector 37">
            <a:extLst>
              <a:ext uri="{FF2B5EF4-FFF2-40B4-BE49-F238E27FC236}">
                <a16:creationId xmlns:a16="http://schemas.microsoft.com/office/drawing/2014/main" id="{753E9616-7B5D-4303-BD38-C48C6AAC11DF}"/>
              </a:ext>
            </a:extLst>
          </p:cNvPr>
          <p:cNvCxnSpPr>
            <a:cxnSpLocks/>
            <a:stCxn id="22" idx="3"/>
          </p:cNvCxnSpPr>
          <p:nvPr/>
        </p:nvCxnSpPr>
        <p:spPr>
          <a:xfrm>
            <a:off x="6171642" y="2936515"/>
            <a:ext cx="858888" cy="0"/>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A4032966-9627-4A02-839B-DF6D19D548B0}"/>
              </a:ext>
            </a:extLst>
          </p:cNvPr>
          <p:cNvPicPr>
            <a:picLocks noChangeAspect="1"/>
          </p:cNvPicPr>
          <p:nvPr/>
        </p:nvPicPr>
        <p:blipFill>
          <a:blip r:embed="rId2"/>
          <a:stretch>
            <a:fillRect/>
          </a:stretch>
        </p:blipFill>
        <p:spPr>
          <a:xfrm>
            <a:off x="6328313" y="3376730"/>
            <a:ext cx="571345" cy="541116"/>
          </a:xfrm>
          <a:prstGeom prst="rect">
            <a:avLst/>
          </a:prstGeom>
        </p:spPr>
      </p:pic>
      <p:sp>
        <p:nvSpPr>
          <p:cNvPr id="2" name="Title 1">
            <a:extLst>
              <a:ext uri="{FF2B5EF4-FFF2-40B4-BE49-F238E27FC236}">
                <a16:creationId xmlns:a16="http://schemas.microsoft.com/office/drawing/2014/main" id="{987696AB-1209-4CD7-8E27-753E42340635}"/>
              </a:ext>
            </a:extLst>
          </p:cNvPr>
          <p:cNvSpPr>
            <a:spLocks noGrp="1"/>
          </p:cNvSpPr>
          <p:nvPr>
            <p:ph type="title"/>
          </p:nvPr>
        </p:nvSpPr>
        <p:spPr>
          <a:xfrm>
            <a:off x="609918" y="206756"/>
            <a:ext cx="10978515" cy="590400"/>
          </a:xfrm>
        </p:spPr>
        <p:txBody>
          <a:bodyPr/>
          <a:lstStyle/>
          <a:p>
            <a:r>
              <a:rPr kumimoji="0" lang="en-GB" sz="2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Smart Contract &amp; Token Review</a:t>
            </a:r>
            <a:endParaRPr lang="nl-NL" dirty="0"/>
          </a:p>
        </p:txBody>
      </p:sp>
      <p:sp>
        <p:nvSpPr>
          <p:cNvPr id="4" name="Date Placeholder 3">
            <a:extLst>
              <a:ext uri="{FF2B5EF4-FFF2-40B4-BE49-F238E27FC236}">
                <a16:creationId xmlns:a16="http://schemas.microsoft.com/office/drawing/2014/main" id="{52F55116-AD49-4CF9-871F-D25A48626AB8}"/>
              </a:ext>
            </a:extLst>
          </p:cNvPr>
          <p:cNvSpPr>
            <a:spLocks noGrp="1"/>
          </p:cNvSpPr>
          <p:nvPr>
            <p:ph type="dt" sz="half" idx="10"/>
          </p:nvPr>
        </p:nvSpPr>
        <p:spPr/>
        <p:txBody>
          <a:bodyPr/>
          <a:lstStyle/>
          <a:p>
            <a:fld id="{A5587F8C-C44A-4A4C-9C57-A83B820B3AE6}" type="datetime3">
              <a:rPr lang="en-US" smtClean="0"/>
              <a:t>13 March 2024</a:t>
            </a:fld>
            <a:endParaRPr lang="en-IN" dirty="0"/>
          </a:p>
        </p:txBody>
      </p:sp>
      <p:sp>
        <p:nvSpPr>
          <p:cNvPr id="5" name="Footer Placeholder 4">
            <a:extLst>
              <a:ext uri="{FF2B5EF4-FFF2-40B4-BE49-F238E27FC236}">
                <a16:creationId xmlns:a16="http://schemas.microsoft.com/office/drawing/2014/main" id="{BDDBA7B8-31D5-43BB-82DE-2FCF7BDB564E}"/>
              </a:ext>
            </a:extLst>
          </p:cNvPr>
          <p:cNvSpPr>
            <a:spLocks noGrp="1"/>
          </p:cNvSpPr>
          <p:nvPr>
            <p:ph type="ftr" sz="quarter" idx="11"/>
          </p:nvPr>
        </p:nvSpPr>
        <p:spPr/>
        <p:txBody>
          <a:bodyPr/>
          <a:lstStyle/>
          <a:p>
            <a:r>
              <a:rPr lang="en-IN"/>
              <a:t>Smart Contract Analyzer</a:t>
            </a:r>
            <a:endParaRPr lang="en-IN" dirty="0"/>
          </a:p>
        </p:txBody>
      </p:sp>
      <p:sp>
        <p:nvSpPr>
          <p:cNvPr id="6" name="Slide Number Placeholder 5">
            <a:extLst>
              <a:ext uri="{FF2B5EF4-FFF2-40B4-BE49-F238E27FC236}">
                <a16:creationId xmlns:a16="http://schemas.microsoft.com/office/drawing/2014/main" id="{3E525590-5BDA-43EB-99A9-3ABB26BCAA9F}"/>
              </a:ext>
            </a:extLst>
          </p:cNvPr>
          <p:cNvSpPr>
            <a:spLocks noGrp="1"/>
          </p:cNvSpPr>
          <p:nvPr>
            <p:ph type="sldNum" sz="quarter" idx="12"/>
          </p:nvPr>
        </p:nvSpPr>
        <p:spPr/>
        <p:txBody>
          <a:bodyPr/>
          <a:lstStyle/>
          <a:p>
            <a:r>
              <a:rPr lang="en-IN"/>
              <a:t>Page </a:t>
            </a:r>
            <a:fld id="{F1BC30E3-FFE5-4B91-AA19-87A149EBB9EE}" type="slidenum">
              <a:rPr smtClean="0"/>
              <a:pPr/>
              <a:t>22</a:t>
            </a:fld>
            <a:endParaRPr dirty="0"/>
          </a:p>
        </p:txBody>
      </p:sp>
      <p:pic>
        <p:nvPicPr>
          <p:cNvPr id="10" name="Graphic 9" descr="Man with solid fill">
            <a:extLst>
              <a:ext uri="{FF2B5EF4-FFF2-40B4-BE49-F238E27FC236}">
                <a16:creationId xmlns:a16="http://schemas.microsoft.com/office/drawing/2014/main" id="{92BE580D-AFFF-4780-BA25-F4ACEEF360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14013" y="2265705"/>
            <a:ext cx="541116" cy="541116"/>
          </a:xfrm>
          <a:prstGeom prst="rect">
            <a:avLst/>
          </a:prstGeom>
        </p:spPr>
      </p:pic>
      <p:pic>
        <p:nvPicPr>
          <p:cNvPr id="12" name="Graphic 11" descr="Woman with solid fill">
            <a:extLst>
              <a:ext uri="{FF2B5EF4-FFF2-40B4-BE49-F238E27FC236}">
                <a16:creationId xmlns:a16="http://schemas.microsoft.com/office/drawing/2014/main" id="{E5AAE827-B31A-4AB6-9C79-902F6D698B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4023" y="2276874"/>
            <a:ext cx="541116" cy="541116"/>
          </a:xfrm>
          <a:prstGeom prst="rect">
            <a:avLst/>
          </a:prstGeom>
        </p:spPr>
      </p:pic>
      <p:sp>
        <p:nvSpPr>
          <p:cNvPr id="14" name="Rectangle 13">
            <a:extLst>
              <a:ext uri="{FF2B5EF4-FFF2-40B4-BE49-F238E27FC236}">
                <a16:creationId xmlns:a16="http://schemas.microsoft.com/office/drawing/2014/main" id="{89B46C45-4703-4EC8-BAEC-B57AD065759E}"/>
              </a:ext>
            </a:extLst>
          </p:cNvPr>
          <p:cNvSpPr/>
          <p:nvPr/>
        </p:nvSpPr>
        <p:spPr>
          <a:xfrm>
            <a:off x="9699585" y="1931350"/>
            <a:ext cx="1936188" cy="1989483"/>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19" name="TextBox 18">
            <a:extLst>
              <a:ext uri="{FF2B5EF4-FFF2-40B4-BE49-F238E27FC236}">
                <a16:creationId xmlns:a16="http://schemas.microsoft.com/office/drawing/2014/main" id="{5468974B-AB4F-46D9-A693-E4D83CF64B16}"/>
              </a:ext>
            </a:extLst>
          </p:cNvPr>
          <p:cNvSpPr txBox="1"/>
          <p:nvPr/>
        </p:nvSpPr>
        <p:spPr>
          <a:xfrm>
            <a:off x="9798490" y="2230026"/>
            <a:ext cx="1789943" cy="6124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100" dirty="0">
                <a:solidFill>
                  <a:schemeClr val="bg1"/>
                </a:solidFill>
              </a:rPr>
              <a:t>Virtual machine allows users to run different parameters, test edge cases and mass transactions</a:t>
            </a:r>
          </a:p>
        </p:txBody>
      </p:sp>
      <p:sp>
        <p:nvSpPr>
          <p:cNvPr id="20" name="TextBox 19">
            <a:extLst>
              <a:ext uri="{FF2B5EF4-FFF2-40B4-BE49-F238E27FC236}">
                <a16:creationId xmlns:a16="http://schemas.microsoft.com/office/drawing/2014/main" id="{9E4B46CC-17DD-476B-8493-D889F91B5101}"/>
              </a:ext>
            </a:extLst>
          </p:cNvPr>
          <p:cNvSpPr txBox="1"/>
          <p:nvPr/>
        </p:nvSpPr>
        <p:spPr>
          <a:xfrm>
            <a:off x="7129450" y="2230026"/>
            <a:ext cx="1789943" cy="91024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100" dirty="0">
                <a:solidFill>
                  <a:schemeClr val="bg1"/>
                </a:solidFill>
              </a:rPr>
              <a:t>Security and quality testing for all contract types</a:t>
            </a:r>
          </a:p>
          <a:p>
            <a:pPr algn="ctr">
              <a:lnSpc>
                <a:spcPct val="85000"/>
              </a:lnSpc>
              <a:spcAft>
                <a:spcPts val="600"/>
              </a:spcAft>
              <a:buClr>
                <a:schemeClr val="accent2"/>
              </a:buClr>
              <a:buSzPct val="70000"/>
            </a:pPr>
            <a:endParaRPr lang="en-US" sz="1100" dirty="0">
              <a:solidFill>
                <a:schemeClr val="bg1"/>
              </a:solidFill>
            </a:endParaRPr>
          </a:p>
          <a:p>
            <a:pPr algn="ctr">
              <a:lnSpc>
                <a:spcPct val="85000"/>
              </a:lnSpc>
              <a:spcAft>
                <a:spcPts val="600"/>
              </a:spcAft>
              <a:buClr>
                <a:schemeClr val="accent2"/>
              </a:buClr>
              <a:buSzPct val="70000"/>
            </a:pPr>
            <a:r>
              <a:rPr lang="en-US" sz="1100" dirty="0">
                <a:solidFill>
                  <a:schemeClr val="bg1"/>
                </a:solidFill>
              </a:rPr>
              <a:t>Business logic testing for specific EVM-based tokens</a:t>
            </a:r>
          </a:p>
        </p:txBody>
      </p:sp>
      <p:sp>
        <p:nvSpPr>
          <p:cNvPr id="21" name="Rectangle 20">
            <a:extLst>
              <a:ext uri="{FF2B5EF4-FFF2-40B4-BE49-F238E27FC236}">
                <a16:creationId xmlns:a16="http://schemas.microsoft.com/office/drawing/2014/main" id="{86F1A82E-66D6-495B-B49C-464CB33C2E0B}"/>
              </a:ext>
            </a:extLst>
          </p:cNvPr>
          <p:cNvSpPr/>
          <p:nvPr/>
        </p:nvSpPr>
        <p:spPr>
          <a:xfrm>
            <a:off x="7056328" y="1928363"/>
            <a:ext cx="1936188" cy="1989483"/>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22" name="Rectangle 21">
            <a:extLst>
              <a:ext uri="{FF2B5EF4-FFF2-40B4-BE49-F238E27FC236}">
                <a16:creationId xmlns:a16="http://schemas.microsoft.com/office/drawing/2014/main" id="{28D24441-F9C1-47CE-8D93-6CC6A3C5E50E}"/>
              </a:ext>
            </a:extLst>
          </p:cNvPr>
          <p:cNvSpPr/>
          <p:nvPr/>
        </p:nvSpPr>
        <p:spPr>
          <a:xfrm>
            <a:off x="4537493" y="1941773"/>
            <a:ext cx="1634149" cy="1989483"/>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23" name="TextBox 22">
            <a:extLst>
              <a:ext uri="{FF2B5EF4-FFF2-40B4-BE49-F238E27FC236}">
                <a16:creationId xmlns:a16="http://schemas.microsoft.com/office/drawing/2014/main" id="{627446F8-C303-4ACC-B47D-E2DA5B211FE1}"/>
              </a:ext>
            </a:extLst>
          </p:cNvPr>
          <p:cNvSpPr txBox="1"/>
          <p:nvPr/>
        </p:nvSpPr>
        <p:spPr>
          <a:xfrm>
            <a:off x="4663435" y="2230025"/>
            <a:ext cx="1435740" cy="1495794"/>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100" dirty="0">
                <a:solidFill>
                  <a:schemeClr val="bg1"/>
                </a:solidFill>
              </a:rPr>
              <a:t>Users provide source code</a:t>
            </a:r>
          </a:p>
          <a:p>
            <a:pPr algn="ctr">
              <a:lnSpc>
                <a:spcPct val="85000"/>
              </a:lnSpc>
              <a:spcAft>
                <a:spcPts val="600"/>
              </a:spcAft>
              <a:buClr>
                <a:schemeClr val="accent2"/>
              </a:buClr>
              <a:buSzPct val="70000"/>
            </a:pPr>
            <a:endParaRPr lang="en-US" sz="1100" dirty="0">
              <a:solidFill>
                <a:schemeClr val="bg1"/>
              </a:solidFill>
            </a:endParaRPr>
          </a:p>
          <a:p>
            <a:pPr algn="ctr">
              <a:lnSpc>
                <a:spcPct val="85000"/>
              </a:lnSpc>
              <a:spcAft>
                <a:spcPts val="600"/>
              </a:spcAft>
              <a:buClr>
                <a:schemeClr val="accent2"/>
              </a:buClr>
              <a:buSzPct val="70000"/>
            </a:pPr>
            <a:r>
              <a:rPr lang="en-US" sz="1100" dirty="0">
                <a:solidFill>
                  <a:schemeClr val="bg1"/>
                </a:solidFill>
              </a:rPr>
              <a:t>or</a:t>
            </a:r>
          </a:p>
          <a:p>
            <a:pPr algn="ctr">
              <a:lnSpc>
                <a:spcPct val="85000"/>
              </a:lnSpc>
              <a:spcAft>
                <a:spcPts val="600"/>
              </a:spcAft>
              <a:buClr>
                <a:schemeClr val="accent2"/>
              </a:buClr>
              <a:buSzPct val="70000"/>
            </a:pPr>
            <a:endParaRPr lang="en-US" sz="1100" dirty="0">
              <a:solidFill>
                <a:schemeClr val="bg1"/>
              </a:solidFill>
            </a:endParaRPr>
          </a:p>
          <a:p>
            <a:pPr algn="ctr">
              <a:lnSpc>
                <a:spcPct val="85000"/>
              </a:lnSpc>
              <a:spcAft>
                <a:spcPts val="600"/>
              </a:spcAft>
              <a:buClr>
                <a:schemeClr val="accent2"/>
              </a:buClr>
              <a:buSzPct val="70000"/>
            </a:pPr>
            <a:r>
              <a:rPr lang="en-US" sz="1100" dirty="0">
                <a:solidFill>
                  <a:schemeClr val="bg1"/>
                </a:solidFill>
              </a:rPr>
              <a:t>Import contract address from the Ethereum </a:t>
            </a:r>
            <a:r>
              <a:rPr lang="en-US" sz="1100" dirty="0" err="1">
                <a:solidFill>
                  <a:schemeClr val="bg1"/>
                </a:solidFill>
              </a:rPr>
              <a:t>mainnet</a:t>
            </a:r>
            <a:endParaRPr lang="en-US" sz="1100" dirty="0">
              <a:solidFill>
                <a:schemeClr val="bg1"/>
              </a:solidFill>
            </a:endParaRPr>
          </a:p>
        </p:txBody>
      </p:sp>
      <p:sp>
        <p:nvSpPr>
          <p:cNvPr id="24" name="Rectangle 23">
            <a:extLst>
              <a:ext uri="{FF2B5EF4-FFF2-40B4-BE49-F238E27FC236}">
                <a16:creationId xmlns:a16="http://schemas.microsoft.com/office/drawing/2014/main" id="{B09E043B-45ED-4CF4-9FDB-55B163167B0D}"/>
              </a:ext>
            </a:extLst>
          </p:cNvPr>
          <p:cNvSpPr/>
          <p:nvPr/>
        </p:nvSpPr>
        <p:spPr>
          <a:xfrm>
            <a:off x="7056328" y="4337271"/>
            <a:ext cx="4579445" cy="382266"/>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25" name="Rectangle 24">
            <a:extLst>
              <a:ext uri="{FF2B5EF4-FFF2-40B4-BE49-F238E27FC236}">
                <a16:creationId xmlns:a16="http://schemas.microsoft.com/office/drawing/2014/main" id="{38195CC7-C97A-46F5-900D-C303D11EA574}"/>
              </a:ext>
            </a:extLst>
          </p:cNvPr>
          <p:cNvSpPr/>
          <p:nvPr/>
        </p:nvSpPr>
        <p:spPr>
          <a:xfrm>
            <a:off x="7056327" y="4961609"/>
            <a:ext cx="4579445" cy="382266"/>
          </a:xfrm>
          <a:prstGeom prst="rect">
            <a:avLst/>
          </a:prstGeom>
          <a:solidFill>
            <a:srgbClr val="FFE600"/>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pic>
        <p:nvPicPr>
          <p:cNvPr id="27" name="Picture 26">
            <a:extLst>
              <a:ext uri="{FF2B5EF4-FFF2-40B4-BE49-F238E27FC236}">
                <a16:creationId xmlns:a16="http://schemas.microsoft.com/office/drawing/2014/main" id="{318FB85E-D844-4BFA-9D4F-185477EAD184}"/>
              </a:ext>
            </a:extLst>
          </p:cNvPr>
          <p:cNvPicPr>
            <a:picLocks noChangeAspect="1"/>
          </p:cNvPicPr>
          <p:nvPr/>
        </p:nvPicPr>
        <p:blipFill>
          <a:blip r:embed="rId7"/>
          <a:stretch>
            <a:fillRect/>
          </a:stretch>
        </p:blipFill>
        <p:spPr>
          <a:xfrm>
            <a:off x="8412119" y="3376730"/>
            <a:ext cx="507274" cy="491221"/>
          </a:xfrm>
          <a:prstGeom prst="rect">
            <a:avLst/>
          </a:prstGeom>
        </p:spPr>
      </p:pic>
      <p:pic>
        <p:nvPicPr>
          <p:cNvPr id="30" name="Picture 29">
            <a:extLst>
              <a:ext uri="{FF2B5EF4-FFF2-40B4-BE49-F238E27FC236}">
                <a16:creationId xmlns:a16="http://schemas.microsoft.com/office/drawing/2014/main" id="{8C991644-ED59-477A-BBE0-612B245897EB}"/>
              </a:ext>
            </a:extLst>
          </p:cNvPr>
          <p:cNvPicPr>
            <a:picLocks noChangeAspect="1"/>
          </p:cNvPicPr>
          <p:nvPr/>
        </p:nvPicPr>
        <p:blipFill>
          <a:blip r:embed="rId7"/>
          <a:stretch>
            <a:fillRect/>
          </a:stretch>
        </p:blipFill>
        <p:spPr>
          <a:xfrm>
            <a:off x="11081159" y="3398030"/>
            <a:ext cx="507274" cy="491221"/>
          </a:xfrm>
          <a:prstGeom prst="rect">
            <a:avLst/>
          </a:prstGeom>
        </p:spPr>
      </p:pic>
      <p:sp>
        <p:nvSpPr>
          <p:cNvPr id="32" name="TextBox 31">
            <a:extLst>
              <a:ext uri="{FF2B5EF4-FFF2-40B4-BE49-F238E27FC236}">
                <a16:creationId xmlns:a16="http://schemas.microsoft.com/office/drawing/2014/main" id="{4A137A2D-A200-4FE2-8789-FB7422BD3CA4}"/>
              </a:ext>
            </a:extLst>
          </p:cNvPr>
          <p:cNvSpPr txBox="1"/>
          <p:nvPr/>
        </p:nvSpPr>
        <p:spPr>
          <a:xfrm>
            <a:off x="7980337" y="3607696"/>
            <a:ext cx="429513" cy="2200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nl-NL" sz="700" dirty="0">
                <a:solidFill>
                  <a:schemeClr val="bg1"/>
                </a:solidFill>
              </a:rPr>
              <a:t>EVM simulator</a:t>
            </a:r>
          </a:p>
        </p:txBody>
      </p:sp>
      <p:sp>
        <p:nvSpPr>
          <p:cNvPr id="33" name="TextBox 32">
            <a:extLst>
              <a:ext uri="{FF2B5EF4-FFF2-40B4-BE49-F238E27FC236}">
                <a16:creationId xmlns:a16="http://schemas.microsoft.com/office/drawing/2014/main" id="{A800E98F-954F-4EB8-88AA-439BC3429CD7}"/>
              </a:ext>
            </a:extLst>
          </p:cNvPr>
          <p:cNvSpPr txBox="1"/>
          <p:nvPr/>
        </p:nvSpPr>
        <p:spPr>
          <a:xfrm>
            <a:off x="10651646" y="3589823"/>
            <a:ext cx="429513" cy="2200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nl-NL" sz="700" dirty="0">
                <a:solidFill>
                  <a:schemeClr val="bg1"/>
                </a:solidFill>
              </a:rPr>
              <a:t>EVM simulator</a:t>
            </a:r>
          </a:p>
        </p:txBody>
      </p:sp>
      <p:sp>
        <p:nvSpPr>
          <p:cNvPr id="34" name="TextBox 33">
            <a:extLst>
              <a:ext uri="{FF2B5EF4-FFF2-40B4-BE49-F238E27FC236}">
                <a16:creationId xmlns:a16="http://schemas.microsoft.com/office/drawing/2014/main" id="{D901A02B-F3BC-40F2-B454-FBECE43010BF}"/>
              </a:ext>
            </a:extLst>
          </p:cNvPr>
          <p:cNvSpPr txBox="1"/>
          <p:nvPr/>
        </p:nvSpPr>
        <p:spPr>
          <a:xfrm>
            <a:off x="6359236" y="3931256"/>
            <a:ext cx="429513" cy="2200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700" dirty="0">
                <a:solidFill>
                  <a:schemeClr val="bg1"/>
                </a:solidFill>
              </a:rPr>
              <a:t>Ethereum </a:t>
            </a:r>
            <a:r>
              <a:rPr lang="en-US" sz="700" dirty="0" err="1">
                <a:solidFill>
                  <a:schemeClr val="bg1"/>
                </a:solidFill>
              </a:rPr>
              <a:t>mainnet</a:t>
            </a:r>
            <a:endParaRPr lang="en-US" sz="700" dirty="0">
              <a:solidFill>
                <a:schemeClr val="bg1"/>
              </a:solidFill>
            </a:endParaRPr>
          </a:p>
        </p:txBody>
      </p:sp>
      <p:sp>
        <p:nvSpPr>
          <p:cNvPr id="35" name="TextBox 34">
            <a:extLst>
              <a:ext uri="{FF2B5EF4-FFF2-40B4-BE49-F238E27FC236}">
                <a16:creationId xmlns:a16="http://schemas.microsoft.com/office/drawing/2014/main" id="{5E7EE1E7-17CC-4F13-BD9E-2E249F44E3AF}"/>
              </a:ext>
            </a:extLst>
          </p:cNvPr>
          <p:cNvSpPr txBox="1"/>
          <p:nvPr/>
        </p:nvSpPr>
        <p:spPr>
          <a:xfrm>
            <a:off x="7129450" y="4431454"/>
            <a:ext cx="4458983"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nl-NL" sz="1200" dirty="0">
                <a:solidFill>
                  <a:schemeClr val="bg1"/>
                </a:solidFill>
              </a:rPr>
              <a:t>Reporting</a:t>
            </a:r>
          </a:p>
        </p:txBody>
      </p:sp>
      <p:sp>
        <p:nvSpPr>
          <p:cNvPr id="36" name="TextBox 35">
            <a:extLst>
              <a:ext uri="{FF2B5EF4-FFF2-40B4-BE49-F238E27FC236}">
                <a16:creationId xmlns:a16="http://schemas.microsoft.com/office/drawing/2014/main" id="{42347280-E7B7-4118-9BB5-9539B9864DFB}"/>
              </a:ext>
            </a:extLst>
          </p:cNvPr>
          <p:cNvSpPr txBox="1"/>
          <p:nvPr/>
        </p:nvSpPr>
        <p:spPr>
          <a:xfrm>
            <a:off x="7116557" y="5055792"/>
            <a:ext cx="4458983"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nl-NL" sz="1200" dirty="0">
                <a:solidFill>
                  <a:schemeClr val="bg1"/>
                </a:solidFill>
              </a:rPr>
              <a:t>Developer review</a:t>
            </a:r>
          </a:p>
        </p:txBody>
      </p:sp>
      <p:cxnSp>
        <p:nvCxnSpPr>
          <p:cNvPr id="41" name="Straight Arrow Connector 40">
            <a:extLst>
              <a:ext uri="{FF2B5EF4-FFF2-40B4-BE49-F238E27FC236}">
                <a16:creationId xmlns:a16="http://schemas.microsoft.com/office/drawing/2014/main" id="{22CC60A5-682B-49E9-BE8C-CC4832703FFF}"/>
              </a:ext>
            </a:extLst>
          </p:cNvPr>
          <p:cNvCxnSpPr>
            <a:cxnSpLocks/>
          </p:cNvCxnSpPr>
          <p:nvPr/>
        </p:nvCxnSpPr>
        <p:spPr>
          <a:xfrm>
            <a:off x="9020554" y="2923105"/>
            <a:ext cx="653973" cy="0"/>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2D44B90-D4FD-47F0-BD7A-7A81D6882B8D}"/>
              </a:ext>
            </a:extLst>
          </p:cNvPr>
          <p:cNvCxnSpPr>
            <a:cxnSpLocks/>
          </p:cNvCxnSpPr>
          <p:nvPr/>
        </p:nvCxnSpPr>
        <p:spPr>
          <a:xfrm>
            <a:off x="8024422" y="3924317"/>
            <a:ext cx="0" cy="382266"/>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C1E1B500-7683-4E50-BFC4-1D1C515E6EA8}"/>
              </a:ext>
            </a:extLst>
          </p:cNvPr>
          <p:cNvCxnSpPr>
            <a:cxnSpLocks/>
          </p:cNvCxnSpPr>
          <p:nvPr/>
        </p:nvCxnSpPr>
        <p:spPr>
          <a:xfrm>
            <a:off x="10667679" y="3929461"/>
            <a:ext cx="0" cy="379279"/>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38579EF-47B7-4365-8FB9-83439A976182}"/>
              </a:ext>
            </a:extLst>
          </p:cNvPr>
          <p:cNvCxnSpPr>
            <a:cxnSpLocks/>
            <a:stCxn id="12" idx="3"/>
          </p:cNvCxnSpPr>
          <p:nvPr/>
        </p:nvCxnSpPr>
        <p:spPr>
          <a:xfrm>
            <a:off x="4175139" y="2547432"/>
            <a:ext cx="341154" cy="0"/>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8F6C4B0-D84C-4874-9A95-4A3876DD5C68}"/>
              </a:ext>
            </a:extLst>
          </p:cNvPr>
          <p:cNvCxnSpPr/>
          <p:nvPr/>
        </p:nvCxnSpPr>
        <p:spPr>
          <a:xfrm>
            <a:off x="4175139" y="3589823"/>
            <a:ext cx="341154" cy="0"/>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Api - Kostenlose computer Icons">
            <a:extLst>
              <a:ext uri="{FF2B5EF4-FFF2-40B4-BE49-F238E27FC236}">
                <a16:creationId xmlns:a16="http://schemas.microsoft.com/office/drawing/2014/main" id="{058A0355-4317-40D3-B875-2CA6D439078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85866" y="3353587"/>
            <a:ext cx="514364" cy="514364"/>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Straight Arrow Connector 57">
            <a:extLst>
              <a:ext uri="{FF2B5EF4-FFF2-40B4-BE49-F238E27FC236}">
                <a16:creationId xmlns:a16="http://schemas.microsoft.com/office/drawing/2014/main" id="{FDCB1A4C-921F-40C6-8E05-411CFCEEBC93}"/>
              </a:ext>
            </a:extLst>
          </p:cNvPr>
          <p:cNvCxnSpPr>
            <a:cxnSpLocks/>
          </p:cNvCxnSpPr>
          <p:nvPr/>
        </p:nvCxnSpPr>
        <p:spPr>
          <a:xfrm>
            <a:off x="6203539" y="3589823"/>
            <a:ext cx="222580" cy="0"/>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1FCB4633-1FBC-4BB3-B126-73AEC91A427F}"/>
              </a:ext>
            </a:extLst>
          </p:cNvPr>
          <p:cNvCxnSpPr>
            <a:cxnSpLocks/>
          </p:cNvCxnSpPr>
          <p:nvPr/>
        </p:nvCxnSpPr>
        <p:spPr>
          <a:xfrm>
            <a:off x="6848810" y="3588802"/>
            <a:ext cx="181717" cy="1021"/>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E0BFAA1D-46C4-4B99-BBAB-D277DD5F8BDA}"/>
              </a:ext>
            </a:extLst>
          </p:cNvPr>
          <p:cNvCxnSpPr>
            <a:cxnSpLocks/>
          </p:cNvCxnSpPr>
          <p:nvPr/>
        </p:nvCxnSpPr>
        <p:spPr>
          <a:xfrm flipH="1">
            <a:off x="9346050" y="4695812"/>
            <a:ext cx="1" cy="242072"/>
          </a:xfrm>
          <a:prstGeom prst="straightConnector1">
            <a:avLst/>
          </a:prstGeom>
          <a:ln w="9525">
            <a:solidFill>
              <a:srgbClr val="FFE600"/>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81E0EC51-99F5-4A75-9B47-4CD40FCA4F21}"/>
              </a:ext>
            </a:extLst>
          </p:cNvPr>
          <p:cNvSpPr/>
          <p:nvPr/>
        </p:nvSpPr>
        <p:spPr>
          <a:xfrm>
            <a:off x="7487688" y="1680481"/>
            <a:ext cx="1073468" cy="192177"/>
          </a:xfrm>
          <a:prstGeom prst="rect">
            <a:avLst/>
          </a:prstGeom>
          <a:solidFill>
            <a:srgbClr val="FFE600"/>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39" name="Rectangle 38">
            <a:extLst>
              <a:ext uri="{FF2B5EF4-FFF2-40B4-BE49-F238E27FC236}">
                <a16:creationId xmlns:a16="http://schemas.microsoft.com/office/drawing/2014/main" id="{89992C32-7EAB-4383-A82E-BA3B0FACDC7A}"/>
              </a:ext>
            </a:extLst>
          </p:cNvPr>
          <p:cNvSpPr/>
          <p:nvPr/>
        </p:nvSpPr>
        <p:spPr>
          <a:xfrm>
            <a:off x="10156727" y="1688171"/>
            <a:ext cx="1073468" cy="192177"/>
          </a:xfrm>
          <a:prstGeom prst="rect">
            <a:avLst/>
          </a:prstGeom>
          <a:solidFill>
            <a:srgbClr val="FFE600"/>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7" name="TextBox 6">
            <a:extLst>
              <a:ext uri="{FF2B5EF4-FFF2-40B4-BE49-F238E27FC236}">
                <a16:creationId xmlns:a16="http://schemas.microsoft.com/office/drawing/2014/main" id="{A2C41AF3-63B9-4D3F-A72D-AEF05B73DE37}"/>
              </a:ext>
            </a:extLst>
          </p:cNvPr>
          <p:cNvSpPr txBox="1"/>
          <p:nvPr/>
        </p:nvSpPr>
        <p:spPr>
          <a:xfrm>
            <a:off x="7487688" y="1688171"/>
            <a:ext cx="1073468"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nl-NL" sz="1200" b="1" dirty="0" err="1">
                <a:solidFill>
                  <a:schemeClr val="bg1"/>
                </a:solidFill>
              </a:rPr>
              <a:t>Automated</a:t>
            </a:r>
            <a:endParaRPr lang="nl-NL" sz="1200" b="1" dirty="0">
              <a:solidFill>
                <a:schemeClr val="bg1"/>
              </a:solidFill>
            </a:endParaRPr>
          </a:p>
        </p:txBody>
      </p:sp>
      <p:sp>
        <p:nvSpPr>
          <p:cNvPr id="40" name="TextBox 39">
            <a:extLst>
              <a:ext uri="{FF2B5EF4-FFF2-40B4-BE49-F238E27FC236}">
                <a16:creationId xmlns:a16="http://schemas.microsoft.com/office/drawing/2014/main" id="{48F8A4A7-0AB5-4B56-A515-00894563B5CB}"/>
              </a:ext>
            </a:extLst>
          </p:cNvPr>
          <p:cNvSpPr txBox="1"/>
          <p:nvPr/>
        </p:nvSpPr>
        <p:spPr>
          <a:xfrm>
            <a:off x="10156727" y="1673277"/>
            <a:ext cx="1073468"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nl-NL" sz="1200" b="1" dirty="0">
                <a:solidFill>
                  <a:schemeClr val="bg1"/>
                </a:solidFill>
              </a:rPr>
              <a:t>Simulator</a:t>
            </a:r>
          </a:p>
        </p:txBody>
      </p:sp>
      <p:pic>
        <p:nvPicPr>
          <p:cNvPr id="9" name="Picture 8">
            <a:extLst>
              <a:ext uri="{FF2B5EF4-FFF2-40B4-BE49-F238E27FC236}">
                <a16:creationId xmlns:a16="http://schemas.microsoft.com/office/drawing/2014/main" id="{A7CB8D1F-7D45-44CB-9F3D-29F1D77B964B}"/>
              </a:ext>
            </a:extLst>
          </p:cNvPr>
          <p:cNvPicPr>
            <a:picLocks noChangeAspect="1"/>
          </p:cNvPicPr>
          <p:nvPr/>
        </p:nvPicPr>
        <p:blipFill>
          <a:blip r:embed="rId9"/>
          <a:stretch>
            <a:fillRect/>
          </a:stretch>
        </p:blipFill>
        <p:spPr>
          <a:xfrm>
            <a:off x="574675" y="2959378"/>
            <a:ext cx="2701466" cy="1859746"/>
          </a:xfrm>
          <a:prstGeom prst="rect">
            <a:avLst/>
          </a:prstGeom>
        </p:spPr>
      </p:pic>
      <p:pic>
        <p:nvPicPr>
          <p:cNvPr id="13" name="Picture 12">
            <a:extLst>
              <a:ext uri="{FF2B5EF4-FFF2-40B4-BE49-F238E27FC236}">
                <a16:creationId xmlns:a16="http://schemas.microsoft.com/office/drawing/2014/main" id="{3D1DC429-09F8-4077-92F0-8FCD5BA91D8D}"/>
              </a:ext>
            </a:extLst>
          </p:cNvPr>
          <p:cNvPicPr>
            <a:picLocks noChangeAspect="1"/>
          </p:cNvPicPr>
          <p:nvPr/>
        </p:nvPicPr>
        <p:blipFill>
          <a:blip r:embed="rId10"/>
          <a:stretch>
            <a:fillRect/>
          </a:stretch>
        </p:blipFill>
        <p:spPr>
          <a:xfrm>
            <a:off x="574675" y="4937884"/>
            <a:ext cx="5794953" cy="1257189"/>
          </a:xfrm>
          <a:prstGeom prst="rect">
            <a:avLst/>
          </a:prstGeom>
        </p:spPr>
      </p:pic>
      <p:sp>
        <p:nvSpPr>
          <p:cNvPr id="44" name="TextBox 43">
            <a:extLst>
              <a:ext uri="{FF2B5EF4-FFF2-40B4-BE49-F238E27FC236}">
                <a16:creationId xmlns:a16="http://schemas.microsoft.com/office/drawing/2014/main" id="{4BE19277-A30C-4AD7-BFCD-4BC872A73026}"/>
              </a:ext>
            </a:extLst>
          </p:cNvPr>
          <p:cNvSpPr txBox="1"/>
          <p:nvPr/>
        </p:nvSpPr>
        <p:spPr>
          <a:xfrm>
            <a:off x="533128" y="959427"/>
            <a:ext cx="3097594" cy="1277273"/>
          </a:xfrm>
          <a:prstGeom prst="rect">
            <a:avLst/>
          </a:prstGeom>
          <a:noFill/>
        </p:spPr>
        <p:txBody>
          <a:bodyPr wrap="square">
            <a:spAutoFit/>
          </a:bodyPr>
          <a:lstStyle/>
          <a:p>
            <a:r>
              <a:rPr lang="en-US" sz="1100" dirty="0">
                <a:solidFill>
                  <a:schemeClr val="bg2"/>
                </a:solidFill>
              </a:rPr>
              <a:t>The EY smart contract review application automates the assessment process of a smart contract by running hundreds of tests using static and dynamic code analysis methods. Test results are accompanied by technical, yet easy to understand, descriptions and examples. </a:t>
            </a:r>
          </a:p>
        </p:txBody>
      </p:sp>
      <p:pic>
        <p:nvPicPr>
          <p:cNvPr id="3" name="Picture 2" descr="NOREA | NOREA">
            <a:extLst>
              <a:ext uri="{FF2B5EF4-FFF2-40B4-BE49-F238E27FC236}">
                <a16:creationId xmlns:a16="http://schemas.microsoft.com/office/drawing/2014/main" id="{60BC6295-9F75-8E3A-F553-3E507EE9C9F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1336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dirty="0"/>
              <a:t>Q &amp; A</a:t>
            </a:r>
          </a:p>
        </p:txBody>
      </p:sp>
      <p:pic>
        <p:nvPicPr>
          <p:cNvPr id="3" name="Picture 2" descr="NOREA | NOREA">
            <a:extLst>
              <a:ext uri="{FF2B5EF4-FFF2-40B4-BE49-F238E27FC236}">
                <a16:creationId xmlns:a16="http://schemas.microsoft.com/office/drawing/2014/main" id="{0EA440FF-3650-0D57-61FF-D4D6837829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8191" y="5700814"/>
            <a:ext cx="2657475"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225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3"/>
          <p:cNvSpPr>
            <a:spLocks noGrp="1"/>
          </p:cNvSpPr>
          <p:nvPr>
            <p:ph type="ctrTitle"/>
          </p:nvPr>
        </p:nvSpPr>
        <p:spPr>
          <a:xfrm>
            <a:off x="2162738" y="1619251"/>
            <a:ext cx="7872875" cy="1246188"/>
          </a:xfrm>
        </p:spPr>
        <p:txBody>
          <a:bodyPr/>
          <a:lstStyle/>
          <a:p>
            <a:pPr eaLnBrk="1" hangingPunct="1"/>
            <a:r>
              <a:rPr lang="nl-NL" altLang="en-US" dirty="0"/>
              <a:t>Bedankt</a:t>
            </a:r>
          </a:p>
        </p:txBody>
      </p:sp>
      <p:sp>
        <p:nvSpPr>
          <p:cNvPr id="11267" name="Subtitle 4"/>
          <p:cNvSpPr txBox="1">
            <a:spLocks/>
          </p:cNvSpPr>
          <p:nvPr/>
        </p:nvSpPr>
        <p:spPr bwMode="auto">
          <a:xfrm>
            <a:off x="2162737" y="2105026"/>
            <a:ext cx="7872876"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ts val="0"/>
              </a:spcBef>
              <a:buNone/>
            </a:pPr>
            <a:endParaRPr lang="nl-NL" altLang="en-US" sz="667" spc="-67" dirty="0">
              <a:latin typeface="Lucida Bright" panose="02040602050505020304" pitchFamily="18" charset="0"/>
              <a:cs typeface="Arial" charset="0"/>
            </a:endParaRPr>
          </a:p>
          <a:p>
            <a:pPr eaLnBrk="1" hangingPunct="1">
              <a:spcBef>
                <a:spcPts val="0"/>
              </a:spcBef>
              <a:buNone/>
            </a:pPr>
            <a:r>
              <a:rPr lang="nl-NL" altLang="en-US" sz="1333" spc="-67" dirty="0">
                <a:solidFill>
                  <a:schemeClr val="bg2"/>
                </a:solidFill>
                <a:latin typeface="Lucida Sans Unicode" panose="020B0602030504020204" pitchFamily="34" charset="0"/>
                <a:cs typeface="Lucida Sans Unicode" panose="020B0602030504020204" pitchFamily="34" charset="0"/>
              </a:rPr>
              <a:t>Voor meer informatie kun je contact opnemen met de Kennisgroep </a:t>
            </a:r>
            <a:r>
              <a:rPr lang="nl-NL" altLang="en-US" sz="1333" spc="-67" dirty="0" err="1">
                <a:solidFill>
                  <a:schemeClr val="bg2"/>
                </a:solidFill>
                <a:latin typeface="Lucida Sans Unicode" panose="020B0602030504020204" pitchFamily="34" charset="0"/>
                <a:cs typeface="Lucida Sans Unicode" panose="020B0602030504020204" pitchFamily="34" charset="0"/>
              </a:rPr>
              <a:t>Keteninfomanagement</a:t>
            </a:r>
            <a:r>
              <a:rPr lang="nl-NL" altLang="en-US" sz="1333" spc="-67" dirty="0">
                <a:solidFill>
                  <a:schemeClr val="bg2"/>
                </a:solidFill>
                <a:latin typeface="Lucida Sans Unicode" panose="020B0602030504020204" pitchFamily="34" charset="0"/>
                <a:cs typeface="Lucida Sans Unicode" panose="020B0602030504020204" pitchFamily="34" charset="0"/>
              </a:rPr>
              <a:t> via</a:t>
            </a:r>
          </a:p>
          <a:p>
            <a:pPr eaLnBrk="1" hangingPunct="1">
              <a:spcBef>
                <a:spcPts val="0"/>
              </a:spcBef>
              <a:buNone/>
            </a:pPr>
            <a:endParaRPr lang="nl-NL" altLang="en-US" sz="667" spc="-67" dirty="0">
              <a:latin typeface="Lucida Sans Unicode" panose="020B0602030504020204" pitchFamily="34" charset="0"/>
              <a:cs typeface="Lucida Sans Unicode" panose="020B0602030504020204" pitchFamily="34" charset="0"/>
            </a:endParaRPr>
          </a:p>
          <a:p>
            <a:pPr eaLnBrk="1" hangingPunct="1">
              <a:spcBef>
                <a:spcPts val="0"/>
              </a:spcBef>
              <a:buNone/>
            </a:pPr>
            <a:r>
              <a:rPr lang="nl-NL" altLang="en-US" spc="-67" dirty="0">
                <a:solidFill>
                  <a:srgbClr val="C60C30"/>
                </a:solidFill>
                <a:latin typeface="Lucida Sans Unicode" panose="020B0602030504020204" pitchFamily="34" charset="0"/>
                <a:cs typeface="Lucida Sans Unicode" panose="020B0602030504020204" pitchFamily="34" charset="0"/>
              </a:rPr>
              <a:t>Christel Maas</a:t>
            </a:r>
          </a:p>
          <a:p>
            <a:pPr eaLnBrk="1" hangingPunct="1">
              <a:spcBef>
                <a:spcPts val="0"/>
              </a:spcBef>
              <a:buNone/>
            </a:pPr>
            <a:r>
              <a:rPr lang="nl-NL" altLang="en-US" spc="-67" dirty="0">
                <a:solidFill>
                  <a:srgbClr val="C60C30"/>
                </a:solidFill>
                <a:latin typeface="Lucida Sans Unicode" panose="020B0602030504020204" pitchFamily="34" charset="0"/>
                <a:cs typeface="Lucida Sans Unicode" panose="020B0602030504020204" pitchFamily="34" charset="0"/>
              </a:rPr>
              <a:t>088-4960361</a:t>
            </a:r>
          </a:p>
          <a:p>
            <a:pPr eaLnBrk="1" hangingPunct="1">
              <a:spcBef>
                <a:spcPts val="0"/>
              </a:spcBef>
              <a:buNone/>
            </a:pPr>
            <a:r>
              <a:rPr lang="nl-NL" altLang="en-US" spc="-67" dirty="0">
                <a:solidFill>
                  <a:srgbClr val="C60C30"/>
                </a:solidFill>
                <a:latin typeface="Lucida Sans Unicode" panose="020B0602030504020204" pitchFamily="34" charset="0"/>
                <a:cs typeface="Lucida Sans Unicode" panose="020B0602030504020204" pitchFamily="34" charset="0"/>
              </a:rPr>
              <a:t>c.maas@norea.nl</a:t>
            </a:r>
          </a:p>
        </p:txBody>
      </p:sp>
      <p:sp>
        <p:nvSpPr>
          <p:cNvPr id="4" name="AddCustomDate#1"/>
          <p:cNvSpPr txBox="1">
            <a:spLocks noChangeArrowheads="1"/>
          </p:cNvSpPr>
          <p:nvPr/>
        </p:nvSpPr>
        <p:spPr bwMode="auto">
          <a:xfrm>
            <a:off x="5239753" y="4652964"/>
            <a:ext cx="13917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nl-NL"/>
            </a:defPPr>
            <a:lvl1pPr>
              <a:defRPr sz="1200" spc="-100" baseline="0">
                <a:solidFill>
                  <a:srgbClr val="444444"/>
                </a:solidFill>
                <a:latin typeface="Lucida Bright" panose="02040602050505020304" pitchFamily="18" charset="0"/>
                <a:ea typeface="Verdana" pitchFamily="34" charset="0"/>
                <a:cs typeface="Verdana" pitchFamily="34" charset="0"/>
              </a:defRPr>
            </a:lvl1pPr>
            <a:lvl2pPr marL="742950" indent="-285750"/>
            <a:lvl3pPr marL="1143000" indent="-228600"/>
            <a:lvl4pPr marL="1600200" indent="-228600"/>
            <a:lvl5pPr marL="2057400" indent="-228600"/>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pPr lvl="0"/>
            <a:r>
              <a:rPr lang="nl-NL" altLang="en-US" sz="1600" dirty="0">
                <a:latin typeface="Lucida Sans"/>
              </a:rPr>
              <a:t>7 maart 2024</a:t>
            </a:r>
          </a:p>
        </p:txBody>
      </p:sp>
    </p:spTree>
    <p:extLst>
      <p:ext uri="{BB962C8B-B14F-4D97-AF65-F5344CB8AC3E}">
        <p14:creationId xmlns:p14="http://schemas.microsoft.com/office/powerpoint/2010/main" val="37171698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90FAB-40C5-5553-94E9-EB6930A41EF5}"/>
              </a:ext>
            </a:extLst>
          </p:cNvPr>
          <p:cNvSpPr>
            <a:spLocks noGrp="1"/>
          </p:cNvSpPr>
          <p:nvPr>
            <p:ph type="ctrTitle"/>
          </p:nvPr>
        </p:nvSpPr>
        <p:spPr/>
        <p:txBody>
          <a:bodyPr/>
          <a:lstStyle/>
          <a:p>
            <a:r>
              <a:rPr lang="en-US" dirty="0"/>
              <a:t>Introduction</a:t>
            </a:r>
          </a:p>
        </p:txBody>
      </p:sp>
      <p:sp>
        <p:nvSpPr>
          <p:cNvPr id="3" name="Subtitle 2">
            <a:extLst>
              <a:ext uri="{FF2B5EF4-FFF2-40B4-BE49-F238E27FC236}">
                <a16:creationId xmlns:a16="http://schemas.microsoft.com/office/drawing/2014/main" id="{3DCA5449-9E24-39A2-7FDB-A32F3A604E9C}"/>
              </a:ext>
            </a:extLst>
          </p:cNvPr>
          <p:cNvSpPr>
            <a:spLocks noGrp="1"/>
          </p:cNvSpPr>
          <p:nvPr>
            <p:ph type="subTitle" idx="1"/>
          </p:nvPr>
        </p:nvSpPr>
        <p:spPr/>
        <p:txBody>
          <a:bodyPr/>
          <a:lstStyle/>
          <a:p>
            <a:r>
              <a:rPr lang="en-US" dirty="0"/>
              <a:t>Promises and failures of the world changing emerging technology called blockchain</a:t>
            </a:r>
          </a:p>
        </p:txBody>
      </p:sp>
      <p:pic>
        <p:nvPicPr>
          <p:cNvPr id="4" name="Picture 2" descr="NOREA | NOREA">
            <a:extLst>
              <a:ext uri="{FF2B5EF4-FFF2-40B4-BE49-F238E27FC236}">
                <a16:creationId xmlns:a16="http://schemas.microsoft.com/office/drawing/2014/main" id="{C6BED33B-6D0C-657B-DCF8-435C48F079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28982" y="5931820"/>
            <a:ext cx="2657475"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698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CB5C0-D1D1-4CCC-BDBC-8F2EFAF58973}"/>
              </a:ext>
            </a:extLst>
          </p:cNvPr>
          <p:cNvGraphicFramePr>
            <a:graphicFrameLocks noChangeAspect="1"/>
          </p:cNvGraphicFramePr>
          <p:nvPr>
            <p:custDataLst>
              <p:tags r:id="rId1"/>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461CB5C0-D1D1-4CCC-BDBC-8F2EFAF58973}"/>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5A9667-392D-4E41-9520-5DC065AA99EB}"/>
              </a:ext>
            </a:extLst>
          </p:cNvPr>
          <p:cNvSpPr/>
          <p:nvPr>
            <p:custDataLst>
              <p:tags r:id="rId2"/>
            </p:custDataLst>
          </p:nvPr>
        </p:nvSpPr>
        <p:spPr>
          <a:xfrm>
            <a:off x="3176" y="1786"/>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99">
              <a:solidFill>
                <a:schemeClr val="tx1"/>
              </a:solidFill>
              <a:latin typeface="Arial" panose="020B060402020202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D6CA1E5E-0CB9-4601-87FD-5D0B97A7A46A}"/>
              </a:ext>
            </a:extLst>
          </p:cNvPr>
          <p:cNvSpPr/>
          <p:nvPr/>
        </p:nvSpPr>
        <p:spPr>
          <a:xfrm>
            <a:off x="0" y="2505"/>
            <a:ext cx="3933372" cy="686632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0" tIns="72000" rIns="360000" bIns="72000" rtlCol="0" anchor="ctr" anchorCtr="0"/>
          <a:lstStyle/>
          <a:p>
            <a:r>
              <a:rPr lang="en-US" sz="2400" b="1" dirty="0">
                <a:solidFill>
                  <a:schemeClr val="tx1"/>
                </a:solidFill>
              </a:rPr>
              <a:t>Enterprises and governmental bodies alike are captivated by the compelling benefits of blockchain technology.</a:t>
            </a:r>
          </a:p>
        </p:txBody>
      </p:sp>
      <p:grpSp>
        <p:nvGrpSpPr>
          <p:cNvPr id="24" name="Group 23">
            <a:extLst>
              <a:ext uri="{FF2B5EF4-FFF2-40B4-BE49-F238E27FC236}">
                <a16:creationId xmlns:a16="http://schemas.microsoft.com/office/drawing/2014/main" id="{E9089DA7-9DF5-4A4D-871D-68535EC69437}"/>
              </a:ext>
            </a:extLst>
          </p:cNvPr>
          <p:cNvGrpSpPr/>
          <p:nvPr/>
        </p:nvGrpSpPr>
        <p:grpSpPr>
          <a:xfrm>
            <a:off x="4056863" y="2434803"/>
            <a:ext cx="4178280" cy="1172075"/>
            <a:chOff x="4203692" y="3790179"/>
            <a:chExt cx="4178280" cy="1172075"/>
          </a:xfrm>
        </p:grpSpPr>
        <p:pic>
          <p:nvPicPr>
            <p:cNvPr id="21" name="Picture 20">
              <a:extLst>
                <a:ext uri="{FF2B5EF4-FFF2-40B4-BE49-F238E27FC236}">
                  <a16:creationId xmlns:a16="http://schemas.microsoft.com/office/drawing/2014/main" id="{82EC10B6-4184-498C-A754-09C07F80DD1F}"/>
                </a:ext>
              </a:extLst>
            </p:cNvPr>
            <p:cNvPicPr>
              <a:picLocks noChangeAspect="1"/>
            </p:cNvPicPr>
            <p:nvPr/>
          </p:nvPicPr>
          <p:blipFill>
            <a:blip r:embed="rId7"/>
            <a:stretch>
              <a:fillRect/>
            </a:stretch>
          </p:blipFill>
          <p:spPr>
            <a:xfrm>
              <a:off x="4203692" y="4093893"/>
              <a:ext cx="4178280" cy="868361"/>
            </a:xfrm>
            <a:prstGeom prst="rect">
              <a:avLst/>
            </a:prstGeom>
          </p:spPr>
        </p:pic>
        <p:pic>
          <p:nvPicPr>
            <p:cNvPr id="23" name="Picture 22">
              <a:extLst>
                <a:ext uri="{FF2B5EF4-FFF2-40B4-BE49-F238E27FC236}">
                  <a16:creationId xmlns:a16="http://schemas.microsoft.com/office/drawing/2014/main" id="{F6E67A1A-6EAC-4590-A603-F91572610DC4}"/>
                </a:ext>
              </a:extLst>
            </p:cNvPr>
            <p:cNvPicPr>
              <a:picLocks noChangeAspect="1"/>
            </p:cNvPicPr>
            <p:nvPr/>
          </p:nvPicPr>
          <p:blipFill>
            <a:blip r:embed="rId8"/>
            <a:stretch>
              <a:fillRect/>
            </a:stretch>
          </p:blipFill>
          <p:spPr>
            <a:xfrm>
              <a:off x="4203692" y="3790179"/>
              <a:ext cx="933640" cy="303714"/>
            </a:xfrm>
            <a:prstGeom prst="rect">
              <a:avLst/>
            </a:prstGeom>
          </p:spPr>
        </p:pic>
      </p:grpSp>
      <p:grpSp>
        <p:nvGrpSpPr>
          <p:cNvPr id="9" name="Group 8">
            <a:extLst>
              <a:ext uri="{FF2B5EF4-FFF2-40B4-BE49-F238E27FC236}">
                <a16:creationId xmlns:a16="http://schemas.microsoft.com/office/drawing/2014/main" id="{08B2AB60-60EA-42B5-9AAF-8D569B49C58C}"/>
              </a:ext>
            </a:extLst>
          </p:cNvPr>
          <p:cNvGrpSpPr/>
          <p:nvPr/>
        </p:nvGrpSpPr>
        <p:grpSpPr>
          <a:xfrm>
            <a:off x="8649918" y="3240613"/>
            <a:ext cx="3054618" cy="1123531"/>
            <a:chOff x="4291170" y="4851375"/>
            <a:chExt cx="3054618" cy="1123531"/>
          </a:xfrm>
        </p:grpSpPr>
        <p:pic>
          <p:nvPicPr>
            <p:cNvPr id="13" name="Picture 12">
              <a:extLst>
                <a:ext uri="{FF2B5EF4-FFF2-40B4-BE49-F238E27FC236}">
                  <a16:creationId xmlns:a16="http://schemas.microsoft.com/office/drawing/2014/main" id="{1C99B73E-08E6-4978-890A-D133863FDF20}"/>
                </a:ext>
              </a:extLst>
            </p:cNvPr>
            <p:cNvPicPr>
              <a:picLocks noChangeAspect="1"/>
            </p:cNvPicPr>
            <p:nvPr/>
          </p:nvPicPr>
          <p:blipFill>
            <a:blip r:embed="rId9"/>
            <a:stretch>
              <a:fillRect/>
            </a:stretch>
          </p:blipFill>
          <p:spPr>
            <a:xfrm>
              <a:off x="4291170" y="5023275"/>
              <a:ext cx="3054618" cy="951631"/>
            </a:xfrm>
            <a:prstGeom prst="rect">
              <a:avLst/>
            </a:prstGeom>
          </p:spPr>
        </p:pic>
        <p:pic>
          <p:nvPicPr>
            <p:cNvPr id="16" name="Picture 15">
              <a:extLst>
                <a:ext uri="{FF2B5EF4-FFF2-40B4-BE49-F238E27FC236}">
                  <a16:creationId xmlns:a16="http://schemas.microsoft.com/office/drawing/2014/main" id="{B94B2699-A8FE-4B8A-AE7E-90E5726E9831}"/>
                </a:ext>
              </a:extLst>
            </p:cNvPr>
            <p:cNvPicPr>
              <a:picLocks noChangeAspect="1"/>
            </p:cNvPicPr>
            <p:nvPr/>
          </p:nvPicPr>
          <p:blipFill>
            <a:blip r:embed="rId10"/>
            <a:stretch>
              <a:fillRect/>
            </a:stretch>
          </p:blipFill>
          <p:spPr>
            <a:xfrm>
              <a:off x="5966081" y="4851375"/>
              <a:ext cx="1379707" cy="173287"/>
            </a:xfrm>
            <a:prstGeom prst="rect">
              <a:avLst/>
            </a:prstGeom>
          </p:spPr>
        </p:pic>
      </p:grpSp>
      <p:grpSp>
        <p:nvGrpSpPr>
          <p:cNvPr id="11" name="Group 10">
            <a:extLst>
              <a:ext uri="{FF2B5EF4-FFF2-40B4-BE49-F238E27FC236}">
                <a16:creationId xmlns:a16="http://schemas.microsoft.com/office/drawing/2014/main" id="{C3BB2215-67E0-4F26-817A-4BD2CFDE3528}"/>
              </a:ext>
            </a:extLst>
          </p:cNvPr>
          <p:cNvGrpSpPr/>
          <p:nvPr/>
        </p:nvGrpSpPr>
        <p:grpSpPr>
          <a:xfrm>
            <a:off x="4341344" y="4846642"/>
            <a:ext cx="5367542" cy="1634904"/>
            <a:chOff x="4056863" y="476789"/>
            <a:chExt cx="5367542" cy="1634904"/>
          </a:xfrm>
        </p:grpSpPr>
        <p:pic>
          <p:nvPicPr>
            <p:cNvPr id="19" name="Picture 18">
              <a:extLst>
                <a:ext uri="{FF2B5EF4-FFF2-40B4-BE49-F238E27FC236}">
                  <a16:creationId xmlns:a16="http://schemas.microsoft.com/office/drawing/2014/main" id="{F4E2DABE-CD2A-490F-ABE3-2A8BECFC79FF}"/>
                </a:ext>
              </a:extLst>
            </p:cNvPr>
            <p:cNvPicPr>
              <a:picLocks noChangeAspect="1"/>
            </p:cNvPicPr>
            <p:nvPr/>
          </p:nvPicPr>
          <p:blipFill>
            <a:blip r:embed="rId11"/>
            <a:stretch>
              <a:fillRect/>
            </a:stretch>
          </p:blipFill>
          <p:spPr>
            <a:xfrm>
              <a:off x="4056863" y="981684"/>
              <a:ext cx="5367542" cy="1130009"/>
            </a:xfrm>
            <a:prstGeom prst="rect">
              <a:avLst/>
            </a:prstGeom>
          </p:spPr>
        </p:pic>
        <p:pic>
          <p:nvPicPr>
            <p:cNvPr id="22" name="Picture 21">
              <a:extLst>
                <a:ext uri="{FF2B5EF4-FFF2-40B4-BE49-F238E27FC236}">
                  <a16:creationId xmlns:a16="http://schemas.microsoft.com/office/drawing/2014/main" id="{E7056EE6-E2E5-456E-9A4E-776D29471816}"/>
                </a:ext>
              </a:extLst>
            </p:cNvPr>
            <p:cNvPicPr>
              <a:picLocks noChangeAspect="1"/>
            </p:cNvPicPr>
            <p:nvPr/>
          </p:nvPicPr>
          <p:blipFill>
            <a:blip r:embed="rId12"/>
            <a:stretch>
              <a:fillRect/>
            </a:stretch>
          </p:blipFill>
          <p:spPr>
            <a:xfrm>
              <a:off x="4095719" y="476789"/>
              <a:ext cx="2324424" cy="504895"/>
            </a:xfrm>
            <a:prstGeom prst="rect">
              <a:avLst/>
            </a:prstGeom>
          </p:spPr>
        </p:pic>
      </p:grpSp>
      <p:pic>
        <p:nvPicPr>
          <p:cNvPr id="6" name="Picture 5">
            <a:extLst>
              <a:ext uri="{FF2B5EF4-FFF2-40B4-BE49-F238E27FC236}">
                <a16:creationId xmlns:a16="http://schemas.microsoft.com/office/drawing/2014/main" id="{8C4338AF-542B-4C93-9515-237483BF8B45}"/>
              </a:ext>
            </a:extLst>
          </p:cNvPr>
          <p:cNvPicPr>
            <a:picLocks noChangeAspect="1"/>
          </p:cNvPicPr>
          <p:nvPr/>
        </p:nvPicPr>
        <p:blipFill>
          <a:blip r:embed="rId13"/>
          <a:stretch>
            <a:fillRect/>
          </a:stretch>
        </p:blipFill>
        <p:spPr>
          <a:xfrm>
            <a:off x="7362335" y="1469979"/>
            <a:ext cx="4385564" cy="964824"/>
          </a:xfrm>
          <a:prstGeom prst="rect">
            <a:avLst/>
          </a:prstGeom>
        </p:spPr>
      </p:pic>
      <p:grpSp>
        <p:nvGrpSpPr>
          <p:cNvPr id="10" name="Group 9">
            <a:extLst>
              <a:ext uri="{FF2B5EF4-FFF2-40B4-BE49-F238E27FC236}">
                <a16:creationId xmlns:a16="http://schemas.microsoft.com/office/drawing/2014/main" id="{0D3858E7-3A33-48B8-A070-BDEF6C9B2ED0}"/>
              </a:ext>
            </a:extLst>
          </p:cNvPr>
          <p:cNvGrpSpPr/>
          <p:nvPr/>
        </p:nvGrpSpPr>
        <p:grpSpPr>
          <a:xfrm>
            <a:off x="4177898" y="422259"/>
            <a:ext cx="4554765" cy="697931"/>
            <a:chOff x="6944749" y="1969494"/>
            <a:chExt cx="4554765" cy="697931"/>
          </a:xfrm>
        </p:grpSpPr>
        <p:pic>
          <p:nvPicPr>
            <p:cNvPr id="4" name="Picture 3">
              <a:extLst>
                <a:ext uri="{FF2B5EF4-FFF2-40B4-BE49-F238E27FC236}">
                  <a16:creationId xmlns:a16="http://schemas.microsoft.com/office/drawing/2014/main" id="{CF7A041E-0BBE-4516-8466-B35248E9C0A0}"/>
                </a:ext>
              </a:extLst>
            </p:cNvPr>
            <p:cNvPicPr>
              <a:picLocks noChangeAspect="1"/>
            </p:cNvPicPr>
            <p:nvPr/>
          </p:nvPicPr>
          <p:blipFill>
            <a:blip r:embed="rId14"/>
            <a:stretch>
              <a:fillRect/>
            </a:stretch>
          </p:blipFill>
          <p:spPr>
            <a:xfrm>
              <a:off x="6944749" y="1969494"/>
              <a:ext cx="3208880" cy="697931"/>
            </a:xfrm>
            <a:prstGeom prst="rect">
              <a:avLst/>
            </a:prstGeom>
          </p:spPr>
        </p:pic>
        <p:pic>
          <p:nvPicPr>
            <p:cNvPr id="8" name="Picture 7">
              <a:extLst>
                <a:ext uri="{FF2B5EF4-FFF2-40B4-BE49-F238E27FC236}">
                  <a16:creationId xmlns:a16="http://schemas.microsoft.com/office/drawing/2014/main" id="{009966B7-44D7-455B-A99F-F8D10B237D71}"/>
                </a:ext>
              </a:extLst>
            </p:cNvPr>
            <p:cNvPicPr>
              <a:picLocks noChangeAspect="1"/>
            </p:cNvPicPr>
            <p:nvPr/>
          </p:nvPicPr>
          <p:blipFill>
            <a:blip r:embed="rId15"/>
            <a:stretch>
              <a:fillRect/>
            </a:stretch>
          </p:blipFill>
          <p:spPr>
            <a:xfrm>
              <a:off x="10129186" y="1969494"/>
              <a:ext cx="1370328" cy="697931"/>
            </a:xfrm>
            <a:prstGeom prst="rect">
              <a:avLst/>
            </a:prstGeom>
          </p:spPr>
        </p:pic>
      </p:grpSp>
      <p:pic>
        <p:nvPicPr>
          <p:cNvPr id="2" name="Picture 2" descr="NOREA | NOREA">
            <a:extLst>
              <a:ext uri="{FF2B5EF4-FFF2-40B4-BE49-F238E27FC236}">
                <a16:creationId xmlns:a16="http://schemas.microsoft.com/office/drawing/2014/main" id="{859DDF1C-6A14-F4B2-9EE7-C0ACFD909EC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69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CB5C0-D1D1-4CCC-BDBC-8F2EFAF58973}"/>
              </a:ext>
            </a:extLst>
          </p:cNvPr>
          <p:cNvGraphicFramePr>
            <a:graphicFrameLocks noChangeAspect="1"/>
          </p:cNvGraphicFramePr>
          <p:nvPr>
            <p:custDataLst>
              <p:tags r:id="rId1"/>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461CB5C0-D1D1-4CCC-BDBC-8F2EFAF58973}"/>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5A9667-392D-4E41-9520-5DC065AA99EB}"/>
              </a:ext>
            </a:extLst>
          </p:cNvPr>
          <p:cNvSpPr/>
          <p:nvPr>
            <p:custDataLst>
              <p:tags r:id="rId2"/>
            </p:custDataLst>
          </p:nvPr>
        </p:nvSpPr>
        <p:spPr>
          <a:xfrm>
            <a:off x="3176" y="1786"/>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99">
              <a:solidFill>
                <a:schemeClr val="tx1"/>
              </a:solidFill>
              <a:latin typeface="Arial" panose="020B060402020202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D6CA1E5E-0CB9-4601-87FD-5D0B97A7A46A}"/>
              </a:ext>
            </a:extLst>
          </p:cNvPr>
          <p:cNvSpPr/>
          <p:nvPr/>
        </p:nvSpPr>
        <p:spPr>
          <a:xfrm>
            <a:off x="8264978" y="-8328"/>
            <a:ext cx="3933372" cy="686632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0" tIns="72000" rIns="360000" bIns="72000" rtlCol="0" anchor="ctr" anchorCtr="0"/>
          <a:lstStyle/>
          <a:p>
            <a:r>
              <a:rPr lang="en-US" sz="2400" b="1" dirty="0">
                <a:solidFill>
                  <a:schemeClr val="tx1"/>
                </a:solidFill>
              </a:rPr>
              <a:t>But there are also headlines suggesting that blockchain is a vulnerable technology ideal to be exploited by scammers.</a:t>
            </a:r>
          </a:p>
        </p:txBody>
      </p:sp>
      <p:grpSp>
        <p:nvGrpSpPr>
          <p:cNvPr id="26" name="Group 25">
            <a:extLst>
              <a:ext uri="{FF2B5EF4-FFF2-40B4-BE49-F238E27FC236}">
                <a16:creationId xmlns:a16="http://schemas.microsoft.com/office/drawing/2014/main" id="{D7560A28-DA2F-EA23-5073-FF703CCFAB0E}"/>
              </a:ext>
            </a:extLst>
          </p:cNvPr>
          <p:cNvGrpSpPr/>
          <p:nvPr/>
        </p:nvGrpSpPr>
        <p:grpSpPr>
          <a:xfrm>
            <a:off x="475022" y="373782"/>
            <a:ext cx="4042752" cy="1179528"/>
            <a:chOff x="999031" y="875617"/>
            <a:chExt cx="4042752" cy="1179528"/>
          </a:xfrm>
        </p:grpSpPr>
        <p:pic>
          <p:nvPicPr>
            <p:cNvPr id="18" name="Picture 17">
              <a:extLst>
                <a:ext uri="{FF2B5EF4-FFF2-40B4-BE49-F238E27FC236}">
                  <a16:creationId xmlns:a16="http://schemas.microsoft.com/office/drawing/2014/main" id="{1880AE75-DF93-C2A4-4445-F0F72E7C9073}"/>
                </a:ext>
              </a:extLst>
            </p:cNvPr>
            <p:cNvPicPr>
              <a:picLocks noChangeAspect="1"/>
            </p:cNvPicPr>
            <p:nvPr/>
          </p:nvPicPr>
          <p:blipFill>
            <a:blip r:embed="rId7"/>
            <a:stretch>
              <a:fillRect/>
            </a:stretch>
          </p:blipFill>
          <p:spPr>
            <a:xfrm>
              <a:off x="999031" y="1248162"/>
              <a:ext cx="4042752" cy="806983"/>
            </a:xfrm>
            <a:prstGeom prst="rect">
              <a:avLst/>
            </a:prstGeom>
          </p:spPr>
        </p:pic>
        <p:pic>
          <p:nvPicPr>
            <p:cNvPr id="25" name="Picture 24">
              <a:extLst>
                <a:ext uri="{FF2B5EF4-FFF2-40B4-BE49-F238E27FC236}">
                  <a16:creationId xmlns:a16="http://schemas.microsoft.com/office/drawing/2014/main" id="{F13E643E-4501-4541-73B9-D5AE005EBC36}"/>
                </a:ext>
              </a:extLst>
            </p:cNvPr>
            <p:cNvPicPr>
              <a:picLocks noChangeAspect="1"/>
            </p:cNvPicPr>
            <p:nvPr/>
          </p:nvPicPr>
          <p:blipFill>
            <a:blip r:embed="rId8"/>
            <a:stretch>
              <a:fillRect/>
            </a:stretch>
          </p:blipFill>
          <p:spPr>
            <a:xfrm>
              <a:off x="999031" y="875617"/>
              <a:ext cx="1878247" cy="372545"/>
            </a:xfrm>
            <a:prstGeom prst="rect">
              <a:avLst/>
            </a:prstGeom>
          </p:spPr>
        </p:pic>
      </p:grpSp>
      <p:grpSp>
        <p:nvGrpSpPr>
          <p:cNvPr id="31" name="Group 30">
            <a:extLst>
              <a:ext uri="{FF2B5EF4-FFF2-40B4-BE49-F238E27FC236}">
                <a16:creationId xmlns:a16="http://schemas.microsoft.com/office/drawing/2014/main" id="{15F23352-F89D-EF6C-D3FE-90E07A017506}"/>
              </a:ext>
            </a:extLst>
          </p:cNvPr>
          <p:cNvGrpSpPr/>
          <p:nvPr/>
        </p:nvGrpSpPr>
        <p:grpSpPr>
          <a:xfrm>
            <a:off x="3760083" y="1551806"/>
            <a:ext cx="4344775" cy="1349481"/>
            <a:chOff x="2997586" y="3152736"/>
            <a:chExt cx="4344775" cy="1349481"/>
          </a:xfrm>
        </p:grpSpPr>
        <p:pic>
          <p:nvPicPr>
            <p:cNvPr id="28" name="Picture 27">
              <a:extLst>
                <a:ext uri="{FF2B5EF4-FFF2-40B4-BE49-F238E27FC236}">
                  <a16:creationId xmlns:a16="http://schemas.microsoft.com/office/drawing/2014/main" id="{0F1B6107-A91B-A234-6083-0ECFA56AC37A}"/>
                </a:ext>
              </a:extLst>
            </p:cNvPr>
            <p:cNvPicPr>
              <a:picLocks noChangeAspect="1"/>
            </p:cNvPicPr>
            <p:nvPr/>
          </p:nvPicPr>
          <p:blipFill>
            <a:blip r:embed="rId9"/>
            <a:stretch>
              <a:fillRect/>
            </a:stretch>
          </p:blipFill>
          <p:spPr>
            <a:xfrm>
              <a:off x="2997586" y="3705263"/>
              <a:ext cx="4226428" cy="796954"/>
            </a:xfrm>
            <a:prstGeom prst="rect">
              <a:avLst/>
            </a:prstGeom>
          </p:spPr>
        </p:pic>
        <p:pic>
          <p:nvPicPr>
            <p:cNvPr id="30" name="Picture 29">
              <a:extLst>
                <a:ext uri="{FF2B5EF4-FFF2-40B4-BE49-F238E27FC236}">
                  <a16:creationId xmlns:a16="http://schemas.microsoft.com/office/drawing/2014/main" id="{F89142F1-3D61-59BD-F77A-2DAEA4F13BD0}"/>
                </a:ext>
              </a:extLst>
            </p:cNvPr>
            <p:cNvPicPr>
              <a:picLocks noChangeAspect="1"/>
            </p:cNvPicPr>
            <p:nvPr/>
          </p:nvPicPr>
          <p:blipFill>
            <a:blip r:embed="rId10"/>
            <a:stretch>
              <a:fillRect/>
            </a:stretch>
          </p:blipFill>
          <p:spPr>
            <a:xfrm>
              <a:off x="4855989" y="3152736"/>
              <a:ext cx="2486372" cy="552527"/>
            </a:xfrm>
            <a:prstGeom prst="rect">
              <a:avLst/>
            </a:prstGeom>
          </p:spPr>
        </p:pic>
      </p:grpSp>
      <p:grpSp>
        <p:nvGrpSpPr>
          <p:cNvPr id="36" name="Group 35">
            <a:extLst>
              <a:ext uri="{FF2B5EF4-FFF2-40B4-BE49-F238E27FC236}">
                <a16:creationId xmlns:a16="http://schemas.microsoft.com/office/drawing/2014/main" id="{A0177E2F-ABA6-FF80-8072-8C279C3B8F12}"/>
              </a:ext>
            </a:extLst>
          </p:cNvPr>
          <p:cNvGrpSpPr/>
          <p:nvPr/>
        </p:nvGrpSpPr>
        <p:grpSpPr>
          <a:xfrm>
            <a:off x="382106" y="2647181"/>
            <a:ext cx="3870863" cy="1210152"/>
            <a:chOff x="609246" y="2824954"/>
            <a:chExt cx="3870863" cy="1210152"/>
          </a:xfrm>
        </p:grpSpPr>
        <p:pic>
          <p:nvPicPr>
            <p:cNvPr id="33" name="Picture 32">
              <a:extLst>
                <a:ext uri="{FF2B5EF4-FFF2-40B4-BE49-F238E27FC236}">
                  <a16:creationId xmlns:a16="http://schemas.microsoft.com/office/drawing/2014/main" id="{ADF00C64-2AAC-491B-D525-B996477B57F0}"/>
                </a:ext>
              </a:extLst>
            </p:cNvPr>
            <p:cNvPicPr>
              <a:picLocks noChangeAspect="1"/>
            </p:cNvPicPr>
            <p:nvPr/>
          </p:nvPicPr>
          <p:blipFill>
            <a:blip r:embed="rId11"/>
            <a:stretch>
              <a:fillRect/>
            </a:stretch>
          </p:blipFill>
          <p:spPr>
            <a:xfrm>
              <a:off x="609246" y="3409512"/>
              <a:ext cx="3870863" cy="625594"/>
            </a:xfrm>
            <a:prstGeom prst="rect">
              <a:avLst/>
            </a:prstGeom>
          </p:spPr>
        </p:pic>
        <p:pic>
          <p:nvPicPr>
            <p:cNvPr id="35" name="Picture 34">
              <a:extLst>
                <a:ext uri="{FF2B5EF4-FFF2-40B4-BE49-F238E27FC236}">
                  <a16:creationId xmlns:a16="http://schemas.microsoft.com/office/drawing/2014/main" id="{0FAC471C-5794-A2F5-9D4F-112B374EDA75}"/>
                </a:ext>
              </a:extLst>
            </p:cNvPr>
            <p:cNvPicPr>
              <a:picLocks noChangeAspect="1"/>
            </p:cNvPicPr>
            <p:nvPr/>
          </p:nvPicPr>
          <p:blipFill>
            <a:blip r:embed="rId12"/>
            <a:stretch>
              <a:fillRect/>
            </a:stretch>
          </p:blipFill>
          <p:spPr>
            <a:xfrm>
              <a:off x="698171" y="2824954"/>
              <a:ext cx="1072760" cy="584558"/>
            </a:xfrm>
            <a:prstGeom prst="rect">
              <a:avLst/>
            </a:prstGeom>
          </p:spPr>
        </p:pic>
      </p:grpSp>
      <p:grpSp>
        <p:nvGrpSpPr>
          <p:cNvPr id="41" name="Group 40">
            <a:extLst>
              <a:ext uri="{FF2B5EF4-FFF2-40B4-BE49-F238E27FC236}">
                <a16:creationId xmlns:a16="http://schemas.microsoft.com/office/drawing/2014/main" id="{5CA3B29F-202F-1D52-0334-5B8DD13CBE6D}"/>
              </a:ext>
            </a:extLst>
          </p:cNvPr>
          <p:cNvGrpSpPr/>
          <p:nvPr/>
        </p:nvGrpSpPr>
        <p:grpSpPr>
          <a:xfrm>
            <a:off x="4448344" y="3579355"/>
            <a:ext cx="3656514" cy="1252704"/>
            <a:chOff x="4238991" y="3638078"/>
            <a:chExt cx="3656514" cy="1252704"/>
          </a:xfrm>
        </p:grpSpPr>
        <p:pic>
          <p:nvPicPr>
            <p:cNvPr id="38" name="Picture 37">
              <a:extLst>
                <a:ext uri="{FF2B5EF4-FFF2-40B4-BE49-F238E27FC236}">
                  <a16:creationId xmlns:a16="http://schemas.microsoft.com/office/drawing/2014/main" id="{191E5B5A-B416-86B8-4408-7A7E0639D84D}"/>
                </a:ext>
              </a:extLst>
            </p:cNvPr>
            <p:cNvPicPr>
              <a:picLocks noChangeAspect="1"/>
            </p:cNvPicPr>
            <p:nvPr/>
          </p:nvPicPr>
          <p:blipFill>
            <a:blip r:embed="rId13"/>
            <a:stretch>
              <a:fillRect/>
            </a:stretch>
          </p:blipFill>
          <p:spPr>
            <a:xfrm>
              <a:off x="4238991" y="4061527"/>
              <a:ext cx="3656514" cy="829255"/>
            </a:xfrm>
            <a:prstGeom prst="rect">
              <a:avLst/>
            </a:prstGeom>
          </p:spPr>
        </p:pic>
        <p:pic>
          <p:nvPicPr>
            <p:cNvPr id="40" name="Picture 39">
              <a:extLst>
                <a:ext uri="{FF2B5EF4-FFF2-40B4-BE49-F238E27FC236}">
                  <a16:creationId xmlns:a16="http://schemas.microsoft.com/office/drawing/2014/main" id="{18B310EA-48A1-CC81-9EDE-80E1C7B8F569}"/>
                </a:ext>
              </a:extLst>
            </p:cNvPr>
            <p:cNvPicPr>
              <a:picLocks noChangeAspect="1"/>
            </p:cNvPicPr>
            <p:nvPr/>
          </p:nvPicPr>
          <p:blipFill>
            <a:blip r:embed="rId14"/>
            <a:stretch>
              <a:fillRect/>
            </a:stretch>
          </p:blipFill>
          <p:spPr>
            <a:xfrm>
              <a:off x="5872295" y="3638078"/>
              <a:ext cx="1484760" cy="265831"/>
            </a:xfrm>
            <a:prstGeom prst="rect">
              <a:avLst/>
            </a:prstGeom>
          </p:spPr>
        </p:pic>
      </p:grpSp>
      <p:grpSp>
        <p:nvGrpSpPr>
          <p:cNvPr id="46" name="Group 45">
            <a:extLst>
              <a:ext uri="{FF2B5EF4-FFF2-40B4-BE49-F238E27FC236}">
                <a16:creationId xmlns:a16="http://schemas.microsoft.com/office/drawing/2014/main" id="{AD5AC5C2-8BD2-3A9D-636D-A76BCE2AF828}"/>
              </a:ext>
            </a:extLst>
          </p:cNvPr>
          <p:cNvGrpSpPr/>
          <p:nvPr/>
        </p:nvGrpSpPr>
        <p:grpSpPr>
          <a:xfrm>
            <a:off x="350924" y="4697235"/>
            <a:ext cx="3902045" cy="1519312"/>
            <a:chOff x="475022" y="4697235"/>
            <a:chExt cx="3902045" cy="1519312"/>
          </a:xfrm>
        </p:grpSpPr>
        <p:pic>
          <p:nvPicPr>
            <p:cNvPr id="43" name="Picture 42">
              <a:extLst>
                <a:ext uri="{FF2B5EF4-FFF2-40B4-BE49-F238E27FC236}">
                  <a16:creationId xmlns:a16="http://schemas.microsoft.com/office/drawing/2014/main" id="{931D5E83-95D6-2089-DF5C-F49CE5E12F07}"/>
                </a:ext>
              </a:extLst>
            </p:cNvPr>
            <p:cNvPicPr>
              <a:picLocks noChangeAspect="1"/>
            </p:cNvPicPr>
            <p:nvPr/>
          </p:nvPicPr>
          <p:blipFill>
            <a:blip r:embed="rId15"/>
            <a:stretch>
              <a:fillRect/>
            </a:stretch>
          </p:blipFill>
          <p:spPr>
            <a:xfrm>
              <a:off x="581272" y="5237631"/>
              <a:ext cx="3795795" cy="978916"/>
            </a:xfrm>
            <a:prstGeom prst="rect">
              <a:avLst/>
            </a:prstGeom>
          </p:spPr>
        </p:pic>
        <p:pic>
          <p:nvPicPr>
            <p:cNvPr id="45" name="Picture 44">
              <a:extLst>
                <a:ext uri="{FF2B5EF4-FFF2-40B4-BE49-F238E27FC236}">
                  <a16:creationId xmlns:a16="http://schemas.microsoft.com/office/drawing/2014/main" id="{E77DF6FB-E06B-2DFB-F907-3F6E8A6C3F5B}"/>
                </a:ext>
              </a:extLst>
            </p:cNvPr>
            <p:cNvPicPr>
              <a:picLocks noChangeAspect="1"/>
            </p:cNvPicPr>
            <p:nvPr/>
          </p:nvPicPr>
          <p:blipFill>
            <a:blip r:embed="rId16"/>
            <a:stretch>
              <a:fillRect/>
            </a:stretch>
          </p:blipFill>
          <p:spPr>
            <a:xfrm>
              <a:off x="475022" y="4697235"/>
              <a:ext cx="2372056" cy="466790"/>
            </a:xfrm>
            <a:prstGeom prst="rect">
              <a:avLst/>
            </a:prstGeom>
          </p:spPr>
        </p:pic>
      </p:grpSp>
    </p:spTree>
    <p:extLst>
      <p:ext uri="{BB962C8B-B14F-4D97-AF65-F5344CB8AC3E}">
        <p14:creationId xmlns:p14="http://schemas.microsoft.com/office/powerpoint/2010/main" val="3438798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B2BDD-0AD8-581C-2F77-D2BB080770F3}"/>
              </a:ext>
            </a:extLst>
          </p:cNvPr>
          <p:cNvSpPr>
            <a:spLocks noGrp="1"/>
          </p:cNvSpPr>
          <p:nvPr>
            <p:ph type="title"/>
          </p:nvPr>
        </p:nvSpPr>
        <p:spPr/>
        <p:txBody>
          <a:bodyPr/>
          <a:lstStyle/>
          <a:p>
            <a:r>
              <a:rPr lang="nl-NL" dirty="0" err="1"/>
              <a:t>So</a:t>
            </a:r>
            <a:r>
              <a:rPr lang="nl-NL" dirty="0"/>
              <a:t> </a:t>
            </a:r>
            <a:r>
              <a:rPr lang="nl-NL" dirty="0" err="1"/>
              <a:t>who</a:t>
            </a:r>
            <a:r>
              <a:rPr lang="nl-NL" dirty="0"/>
              <a:t> is right?</a:t>
            </a:r>
          </a:p>
        </p:txBody>
      </p:sp>
      <p:sp>
        <p:nvSpPr>
          <p:cNvPr id="3" name="Content Placeholder 2">
            <a:extLst>
              <a:ext uri="{FF2B5EF4-FFF2-40B4-BE49-F238E27FC236}">
                <a16:creationId xmlns:a16="http://schemas.microsoft.com/office/drawing/2014/main" id="{BAB608D4-1763-8F43-A162-4AC0360EDA35}"/>
              </a:ext>
            </a:extLst>
          </p:cNvPr>
          <p:cNvSpPr>
            <a:spLocks noGrp="1"/>
          </p:cNvSpPr>
          <p:nvPr>
            <p:ph sz="half" idx="1"/>
          </p:nvPr>
        </p:nvSpPr>
        <p:spPr>
          <a:xfrm>
            <a:off x="609918" y="1137919"/>
            <a:ext cx="5387605" cy="3484415"/>
          </a:xfrm>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WEF: 10% of worldwide GDP on blockchain in 2025</a:t>
            </a:r>
          </a:p>
          <a:p>
            <a:pPr marL="0" inden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latin typeface="Calibri" panose="020F0502020204030204" pitchFamily="34" charset="0"/>
                <a:cs typeface="Times New Roman" panose="02020603050405020304" pitchFamily="18" charset="0"/>
              </a:rPr>
              <a:t>Gartner: Business value add 3.1 trillion in 2030</a:t>
            </a:r>
            <a:endParaRPr lang="nl-NL" dirty="0"/>
          </a:p>
        </p:txBody>
      </p:sp>
      <p:sp>
        <p:nvSpPr>
          <p:cNvPr id="4" name="Content Placeholder 3">
            <a:extLst>
              <a:ext uri="{FF2B5EF4-FFF2-40B4-BE49-F238E27FC236}">
                <a16:creationId xmlns:a16="http://schemas.microsoft.com/office/drawing/2014/main" id="{2075AAA1-3B50-0511-1925-0D97437B0103}"/>
              </a:ext>
            </a:extLst>
          </p:cNvPr>
          <p:cNvSpPr>
            <a:spLocks noGrp="1"/>
          </p:cNvSpPr>
          <p:nvPr>
            <p:ph sz="half" idx="2"/>
          </p:nvPr>
        </p:nvSpPr>
        <p:spPr>
          <a:xfrm>
            <a:off x="6200828" y="1137919"/>
            <a:ext cx="5387605" cy="2075064"/>
          </a:xfrm>
        </p:spPr>
        <p:txBody>
          <a:bodyPr/>
          <a:lstStyle/>
          <a:p>
            <a:r>
              <a:rPr lang="en-US" sz="1800" dirty="0">
                <a:latin typeface="Calibri" panose="020F0502020204030204" pitchFamily="34" charset="0"/>
                <a:ea typeface="Calibri" panose="020F0502020204030204" pitchFamily="34" charset="0"/>
                <a:cs typeface="Times New Roman" panose="02020603050405020304" pitchFamily="18" charset="0"/>
              </a:rPr>
              <a:t>Where is the ‘Chat-GPT’ mo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dirty="0">
              <a:latin typeface="Calibri" panose="020F0502020204030204" pitchFamily="34" charset="0"/>
              <a:cs typeface="Times New Roman" panose="02020603050405020304" pitchFamily="18" charset="0"/>
            </a:endParaRPr>
          </a:p>
          <a:p>
            <a:r>
              <a:rPr lang="en-US" sz="1800" dirty="0">
                <a:latin typeface="Calibri" panose="020F0502020204030204" pitchFamily="34" charset="0"/>
                <a:cs typeface="Times New Roman" panose="02020603050405020304" pitchFamily="18" charset="0"/>
              </a:rPr>
              <a:t>FTX impact – 152 billion dollar of funds are lost to worldwide customers</a:t>
            </a:r>
          </a:p>
          <a:p>
            <a:endParaRPr lang="en-US" sz="1800" dirty="0">
              <a:latin typeface="Calibri" panose="020F0502020204030204" pitchFamily="34" charset="0"/>
              <a:cs typeface="Times New Roman" panose="02020603050405020304" pitchFamily="18" charset="0"/>
            </a:endParaRPr>
          </a:p>
          <a:p>
            <a:pPr marL="0" indent="0">
              <a:buNone/>
            </a:pPr>
            <a:endParaRPr lang="en-US" sz="1800" dirty="0">
              <a:latin typeface="Calibri" panose="020F0502020204030204" pitchFamily="34" charset="0"/>
              <a:cs typeface="Times New Roman" panose="02020603050405020304" pitchFamily="18" charset="0"/>
            </a:endParaRPr>
          </a:p>
          <a:p>
            <a:endParaRPr lang="nl-NL" sz="1800" dirty="0">
              <a:latin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29BF49A9-6B73-CE89-CEF0-445597A47C71}"/>
              </a:ext>
            </a:extLst>
          </p:cNvPr>
          <p:cNvSpPr/>
          <p:nvPr/>
        </p:nvSpPr>
        <p:spPr>
          <a:xfrm>
            <a:off x="1273503" y="4819773"/>
            <a:ext cx="9651344" cy="961595"/>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l-NL" sz="1200" dirty="0">
              <a:solidFill>
                <a:schemeClr val="tx1"/>
              </a:solidFill>
            </a:endParaRPr>
          </a:p>
        </p:txBody>
      </p:sp>
      <p:sp>
        <p:nvSpPr>
          <p:cNvPr id="6" name="TextBox 5">
            <a:extLst>
              <a:ext uri="{FF2B5EF4-FFF2-40B4-BE49-F238E27FC236}">
                <a16:creationId xmlns:a16="http://schemas.microsoft.com/office/drawing/2014/main" id="{6586332F-806D-C438-84F1-5BD9E9726B60}"/>
              </a:ext>
            </a:extLst>
          </p:cNvPr>
          <p:cNvSpPr txBox="1"/>
          <p:nvPr/>
        </p:nvSpPr>
        <p:spPr>
          <a:xfrm>
            <a:off x="2170205" y="5097043"/>
            <a:ext cx="7857940"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2800" dirty="0" err="1">
                <a:solidFill>
                  <a:schemeClr val="bg1"/>
                </a:solidFill>
              </a:rPr>
              <a:t>Cryptocurrencies</a:t>
            </a:r>
            <a:r>
              <a:rPr lang="nl-NL" sz="2800" dirty="0">
                <a:solidFill>
                  <a:schemeClr val="bg1"/>
                </a:solidFill>
              </a:rPr>
              <a:t> are </a:t>
            </a:r>
            <a:r>
              <a:rPr lang="nl-NL" sz="2800" dirty="0" err="1">
                <a:solidFill>
                  <a:schemeClr val="bg1"/>
                </a:solidFill>
              </a:rPr>
              <a:t>not</a:t>
            </a:r>
            <a:r>
              <a:rPr lang="nl-NL" sz="2800" dirty="0">
                <a:solidFill>
                  <a:schemeClr val="bg1"/>
                </a:solidFill>
              </a:rPr>
              <a:t> </a:t>
            </a:r>
            <a:r>
              <a:rPr lang="nl-NL" sz="2800" dirty="0" err="1">
                <a:solidFill>
                  <a:schemeClr val="bg1"/>
                </a:solidFill>
              </a:rPr>
              <a:t>the</a:t>
            </a:r>
            <a:r>
              <a:rPr lang="nl-NL" sz="2800" dirty="0">
                <a:solidFill>
                  <a:schemeClr val="bg1"/>
                </a:solidFill>
              </a:rPr>
              <a:t> </a:t>
            </a:r>
            <a:r>
              <a:rPr lang="nl-NL" sz="2800" dirty="0" err="1">
                <a:solidFill>
                  <a:schemeClr val="bg1"/>
                </a:solidFill>
              </a:rPr>
              <a:t>same</a:t>
            </a:r>
            <a:r>
              <a:rPr lang="nl-NL" sz="2800" dirty="0">
                <a:solidFill>
                  <a:schemeClr val="bg1"/>
                </a:solidFill>
              </a:rPr>
              <a:t> as </a:t>
            </a:r>
            <a:r>
              <a:rPr lang="nl-NL" sz="2800" dirty="0" err="1">
                <a:solidFill>
                  <a:schemeClr val="bg1"/>
                </a:solidFill>
              </a:rPr>
              <a:t>blockchain</a:t>
            </a:r>
            <a:endParaRPr lang="nl-NL" sz="2800" dirty="0">
              <a:solidFill>
                <a:schemeClr val="bg1"/>
              </a:solidFill>
            </a:endParaRPr>
          </a:p>
        </p:txBody>
      </p:sp>
      <p:pic>
        <p:nvPicPr>
          <p:cNvPr id="8" name="Graphic 7" descr="Exclamation mark with solid fill">
            <a:extLst>
              <a:ext uri="{FF2B5EF4-FFF2-40B4-BE49-F238E27FC236}">
                <a16:creationId xmlns:a16="http://schemas.microsoft.com/office/drawing/2014/main" id="{B014FAD1-F79C-F160-88CB-F18916CC93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47785" y="4819773"/>
            <a:ext cx="914400" cy="914400"/>
          </a:xfrm>
          <a:prstGeom prst="rect">
            <a:avLst/>
          </a:prstGeom>
        </p:spPr>
      </p:pic>
      <p:pic>
        <p:nvPicPr>
          <p:cNvPr id="9" name="Graphic 8" descr="Exclamation mark with solid fill">
            <a:extLst>
              <a:ext uri="{FF2B5EF4-FFF2-40B4-BE49-F238E27FC236}">
                <a16:creationId xmlns:a16="http://schemas.microsoft.com/office/drawing/2014/main" id="{C1EC7EF3-D612-E882-4AC7-A321F6764D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01734" y="4866968"/>
            <a:ext cx="914400" cy="914400"/>
          </a:xfrm>
          <a:prstGeom prst="rect">
            <a:avLst/>
          </a:prstGeom>
        </p:spPr>
      </p:pic>
      <p:pic>
        <p:nvPicPr>
          <p:cNvPr id="7" name="Picture 2" descr="NOREA | NOREA">
            <a:extLst>
              <a:ext uri="{FF2B5EF4-FFF2-40B4-BE49-F238E27FC236}">
                <a16:creationId xmlns:a16="http://schemas.microsoft.com/office/drawing/2014/main" id="{F63F64DE-3CC8-6380-952B-CC86DD1D71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389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dirty="0"/>
              <a:t>Blockchain explained</a:t>
            </a:r>
          </a:p>
        </p:txBody>
      </p:sp>
      <p:pic>
        <p:nvPicPr>
          <p:cNvPr id="3" name="Picture 2" descr="NOREA | NOREA">
            <a:extLst>
              <a:ext uri="{FF2B5EF4-FFF2-40B4-BE49-F238E27FC236}">
                <a16:creationId xmlns:a16="http://schemas.microsoft.com/office/drawing/2014/main" id="{113E9BC9-DADC-9AA5-B83A-E265BEBC2F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09732" y="5816317"/>
            <a:ext cx="2657475"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4676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FD6965-FE53-454D-8E7E-65C16B247597}"/>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3" name="think-cell data - do not delete" hidden="1">
                        <a:extLst>
                          <a:ext uri="{FF2B5EF4-FFF2-40B4-BE49-F238E27FC236}">
                            <a16:creationId xmlns:a16="http://schemas.microsoft.com/office/drawing/2014/main" id="{8FFD6965-FE53-454D-8E7E-65C16B247597}"/>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AE27F1-057C-4974-97E1-7DD47B51A293}"/>
              </a:ext>
            </a:extLst>
          </p:cNvPr>
          <p:cNvSpPr>
            <a:spLocks noGrp="1"/>
          </p:cNvSpPr>
          <p:nvPr>
            <p:ph type="title"/>
          </p:nvPr>
        </p:nvSpPr>
        <p:spPr/>
        <p:txBody>
          <a:bodyPr vert="horz"/>
          <a:lstStyle/>
          <a:p>
            <a:r>
              <a:rPr lang="en-US" sz="2400" dirty="0">
                <a:latin typeface="EYInterstate Light" panose="02000506000000020004" pitchFamily="2" charset="0"/>
              </a:rPr>
              <a:t>Blockchain is a decentralized digital ledger for recording and verifying transactions securely between participants</a:t>
            </a:r>
            <a:br>
              <a:rPr lang="en-US" sz="2400" dirty="0">
                <a:latin typeface="EYInterstate Light" panose="02000506000000020004" pitchFamily="2" charset="0"/>
              </a:rPr>
            </a:br>
            <a:endParaRPr lang="en-US" dirty="0">
              <a:latin typeface="EYInterstate Light" panose="02000506000000020004" pitchFamily="2" charset="0"/>
            </a:endParaRPr>
          </a:p>
        </p:txBody>
      </p:sp>
      <p:sp>
        <p:nvSpPr>
          <p:cNvPr id="374" name="Rounded Rectangle 373">
            <a:extLst>
              <a:ext uri="{FF2B5EF4-FFF2-40B4-BE49-F238E27FC236}">
                <a16:creationId xmlns:a16="http://schemas.microsoft.com/office/drawing/2014/main" id="{E4619C0D-3156-7C46-3210-FE8875D4FA6F}"/>
              </a:ext>
            </a:extLst>
          </p:cNvPr>
          <p:cNvSpPr/>
          <p:nvPr/>
        </p:nvSpPr>
        <p:spPr>
          <a:xfrm>
            <a:off x="603383" y="1327150"/>
            <a:ext cx="4993369" cy="1132637"/>
          </a:xfrm>
          <a:prstGeom prst="roundRect">
            <a:avLst>
              <a:gd name="adj" fmla="val 12462"/>
            </a:avLst>
          </a:prstGeom>
          <a:solidFill>
            <a:schemeClr val="tx1">
              <a:lumMod val="95000"/>
            </a:schemeClr>
          </a:solidFill>
          <a:ln w="28575">
            <a:solidFill>
              <a:schemeClr val="tx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nchorCtr="0"/>
          <a:lstStyle/>
          <a:p>
            <a:pPr algn="ctr"/>
            <a:r>
              <a:rPr lang="en-US" sz="1200" dirty="0">
                <a:solidFill>
                  <a:srgbClr val="2E2E38"/>
                </a:solidFill>
                <a:latin typeface="EYInterstate Light" panose="02000506000000020004" pitchFamily="2" charset="0"/>
              </a:rPr>
              <a:t>Participants often maintain their own separate ledgers to record orders and payments. Resulting in discrepancies, potential for errors, fraud, inefficiencies, and reliance on intermediaries due to </a:t>
            </a:r>
            <a:r>
              <a:rPr lang="en-US" sz="1200" b="1" dirty="0">
                <a:solidFill>
                  <a:srgbClr val="2E2E38"/>
                </a:solidFill>
                <a:latin typeface="EYInterstate Light" panose="02000506000000020004" pitchFamily="2" charset="0"/>
              </a:rPr>
              <a:t>each participant having their own version of truth.</a:t>
            </a:r>
          </a:p>
        </p:txBody>
      </p:sp>
      <p:sp>
        <p:nvSpPr>
          <p:cNvPr id="383" name="Rounded Rectangle 382">
            <a:extLst>
              <a:ext uri="{FF2B5EF4-FFF2-40B4-BE49-F238E27FC236}">
                <a16:creationId xmlns:a16="http://schemas.microsoft.com/office/drawing/2014/main" id="{111BB38F-0539-09D8-3112-DF684493E247}"/>
              </a:ext>
            </a:extLst>
          </p:cNvPr>
          <p:cNvSpPr/>
          <p:nvPr/>
        </p:nvSpPr>
        <p:spPr>
          <a:xfrm>
            <a:off x="6590015" y="1327150"/>
            <a:ext cx="4993369" cy="1132637"/>
          </a:xfrm>
          <a:prstGeom prst="roundRect">
            <a:avLst>
              <a:gd name="adj" fmla="val 13303"/>
            </a:avLst>
          </a:prstGeom>
          <a:solidFill>
            <a:schemeClr val="tx1">
              <a:lumMod val="95000"/>
            </a:schemeClr>
          </a:solidFill>
          <a:ln w="28575">
            <a:solidFill>
              <a:schemeClr val="tx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nchorCtr="0"/>
          <a:lstStyle/>
          <a:p>
            <a:pPr algn="ctr"/>
            <a:r>
              <a:rPr lang="en-US" sz="1200" dirty="0">
                <a:solidFill>
                  <a:srgbClr val="2E2E38"/>
                </a:solidFill>
                <a:latin typeface="EYInterstate Light" panose="02000506000000020004" pitchFamily="2" charset="0"/>
              </a:rPr>
              <a:t>A decentralized and shared ledger ensures </a:t>
            </a:r>
            <a:r>
              <a:rPr lang="en-US" sz="1200" b="1" dirty="0">
                <a:solidFill>
                  <a:srgbClr val="2E2E38"/>
                </a:solidFill>
                <a:latin typeface="EYInterstate Light" panose="02000506000000020004" pitchFamily="2" charset="0"/>
              </a:rPr>
              <a:t>a single version of the truth for all participants </a:t>
            </a:r>
            <a:r>
              <a:rPr lang="en-US" sz="1200" dirty="0">
                <a:solidFill>
                  <a:srgbClr val="2E2E38"/>
                </a:solidFill>
                <a:latin typeface="EYInterstate Light" panose="02000506000000020004" pitchFamily="2" charset="0"/>
              </a:rPr>
              <a:t>as the recorded history of transactions on this ledger cannot be altered.</a:t>
            </a:r>
          </a:p>
        </p:txBody>
      </p:sp>
      <p:grpSp>
        <p:nvGrpSpPr>
          <p:cNvPr id="27" name="Group 26">
            <a:extLst>
              <a:ext uri="{FF2B5EF4-FFF2-40B4-BE49-F238E27FC236}">
                <a16:creationId xmlns:a16="http://schemas.microsoft.com/office/drawing/2014/main" id="{7A57C7A5-3722-B0DE-4DA9-1C3C0107EAD9}"/>
              </a:ext>
            </a:extLst>
          </p:cNvPr>
          <p:cNvGrpSpPr/>
          <p:nvPr/>
        </p:nvGrpSpPr>
        <p:grpSpPr>
          <a:xfrm>
            <a:off x="1062910" y="2776393"/>
            <a:ext cx="3820372" cy="3166717"/>
            <a:chOff x="1062910" y="2776393"/>
            <a:chExt cx="3820372" cy="3166717"/>
          </a:xfrm>
        </p:grpSpPr>
        <p:grpSp>
          <p:nvGrpSpPr>
            <p:cNvPr id="265" name="Group 264">
              <a:extLst>
                <a:ext uri="{FF2B5EF4-FFF2-40B4-BE49-F238E27FC236}">
                  <a16:creationId xmlns:a16="http://schemas.microsoft.com/office/drawing/2014/main" id="{83FEE1D8-88E7-F51C-2E98-55789CBA3ED8}"/>
                </a:ext>
              </a:extLst>
            </p:cNvPr>
            <p:cNvGrpSpPr>
              <a:grpSpLocks/>
            </p:cNvGrpSpPr>
            <p:nvPr/>
          </p:nvGrpSpPr>
          <p:grpSpPr>
            <a:xfrm>
              <a:off x="1959533" y="3563494"/>
              <a:ext cx="1644407" cy="1644407"/>
              <a:chOff x="7510411" y="1103091"/>
              <a:chExt cx="3200400" cy="2048256"/>
            </a:xfrm>
          </p:grpSpPr>
          <p:sp>
            <p:nvSpPr>
              <p:cNvPr id="331" name="Regular Pentagon 1">
                <a:extLst>
                  <a:ext uri="{FF2B5EF4-FFF2-40B4-BE49-F238E27FC236}">
                    <a16:creationId xmlns:a16="http://schemas.microsoft.com/office/drawing/2014/main" id="{CDF715E0-BF23-A13E-6FA7-114D486C9574}"/>
                  </a:ext>
                </a:extLst>
              </p:cNvPr>
              <p:cNvSpPr/>
              <p:nvPr/>
            </p:nvSpPr>
            <p:spPr>
              <a:xfrm>
                <a:off x="7510411" y="1103091"/>
                <a:ext cx="3200400" cy="2048256"/>
              </a:xfrm>
              <a:prstGeom prst="pentagon">
                <a:avLst/>
              </a:prstGeom>
              <a:noFill/>
              <a:ln w="6096" cap="rnd" cmpd="sng" algn="ctr">
                <a:solidFill>
                  <a:srgbClr val="575757">
                    <a:lumMod val="40000"/>
                    <a:lumOff val="60000"/>
                  </a:srgbClr>
                </a:solidFill>
                <a:prstDash val="dash"/>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cxnSp>
            <p:nvCxnSpPr>
              <p:cNvPr id="332" name="Straight Connector 331">
                <a:extLst>
                  <a:ext uri="{FF2B5EF4-FFF2-40B4-BE49-F238E27FC236}">
                    <a16:creationId xmlns:a16="http://schemas.microsoft.com/office/drawing/2014/main" id="{A070B8B5-32E6-4A81-8FAA-90B141E50490}"/>
                  </a:ext>
                </a:extLst>
              </p:cNvPr>
              <p:cNvCxnSpPr>
                <a:stCxn id="331" idx="2"/>
                <a:endCxn id="331" idx="5"/>
              </p:cNvCxnSpPr>
              <p:nvPr/>
            </p:nvCxnSpPr>
            <p:spPr>
              <a:xfrm flipV="1">
                <a:off x="8121634" y="1885453"/>
                <a:ext cx="2589174" cy="1265889"/>
              </a:xfrm>
              <a:prstGeom prst="line">
                <a:avLst/>
              </a:prstGeom>
              <a:noFill/>
              <a:ln w="6096" cap="rnd" cmpd="sng" algn="ctr">
                <a:solidFill>
                  <a:srgbClr val="575757">
                    <a:lumMod val="40000"/>
                    <a:lumOff val="60000"/>
                  </a:srgbClr>
                </a:solidFill>
                <a:prstDash val="dash"/>
                <a:round/>
              </a:ln>
              <a:effectLst/>
            </p:spPr>
          </p:cxnSp>
          <p:cxnSp>
            <p:nvCxnSpPr>
              <p:cNvPr id="333" name="Straight Connector 332">
                <a:extLst>
                  <a:ext uri="{FF2B5EF4-FFF2-40B4-BE49-F238E27FC236}">
                    <a16:creationId xmlns:a16="http://schemas.microsoft.com/office/drawing/2014/main" id="{30DB152C-A467-1E2C-4B45-35A2A01ACA0A}"/>
                  </a:ext>
                </a:extLst>
              </p:cNvPr>
              <p:cNvCxnSpPr>
                <a:stCxn id="331" idx="4"/>
                <a:endCxn id="331" idx="1"/>
              </p:cNvCxnSpPr>
              <p:nvPr/>
            </p:nvCxnSpPr>
            <p:spPr>
              <a:xfrm flipH="1" flipV="1">
                <a:off x="7510414" y="1885453"/>
                <a:ext cx="2589174" cy="1265889"/>
              </a:xfrm>
              <a:prstGeom prst="line">
                <a:avLst/>
              </a:prstGeom>
              <a:noFill/>
              <a:ln w="6096" cap="rnd" cmpd="sng" algn="ctr">
                <a:solidFill>
                  <a:srgbClr val="575757">
                    <a:lumMod val="40000"/>
                    <a:lumOff val="60000"/>
                  </a:srgbClr>
                </a:solidFill>
                <a:prstDash val="dash"/>
                <a:round/>
              </a:ln>
              <a:effectLst/>
            </p:spPr>
          </p:cxnSp>
          <p:cxnSp>
            <p:nvCxnSpPr>
              <p:cNvPr id="334" name="Straight Connector 333">
                <a:extLst>
                  <a:ext uri="{FF2B5EF4-FFF2-40B4-BE49-F238E27FC236}">
                    <a16:creationId xmlns:a16="http://schemas.microsoft.com/office/drawing/2014/main" id="{5F7A8A56-4CA9-6151-0277-1EC46C81A725}"/>
                  </a:ext>
                </a:extLst>
              </p:cNvPr>
              <p:cNvCxnSpPr>
                <a:stCxn id="331" idx="2"/>
                <a:endCxn id="331" idx="0"/>
              </p:cNvCxnSpPr>
              <p:nvPr/>
            </p:nvCxnSpPr>
            <p:spPr>
              <a:xfrm flipV="1">
                <a:off x="8121634" y="1103091"/>
                <a:ext cx="988977" cy="2048251"/>
              </a:xfrm>
              <a:prstGeom prst="line">
                <a:avLst/>
              </a:prstGeom>
              <a:noFill/>
              <a:ln w="6096" cap="rnd" cmpd="sng" algn="ctr">
                <a:solidFill>
                  <a:srgbClr val="575757">
                    <a:lumMod val="40000"/>
                    <a:lumOff val="60000"/>
                  </a:srgbClr>
                </a:solidFill>
                <a:prstDash val="dash"/>
                <a:round/>
              </a:ln>
              <a:effectLst/>
            </p:spPr>
          </p:cxnSp>
          <p:cxnSp>
            <p:nvCxnSpPr>
              <p:cNvPr id="335" name="Straight Connector 334">
                <a:extLst>
                  <a:ext uri="{FF2B5EF4-FFF2-40B4-BE49-F238E27FC236}">
                    <a16:creationId xmlns:a16="http://schemas.microsoft.com/office/drawing/2014/main" id="{A103886E-CF9C-970E-4688-923DEC523C39}"/>
                  </a:ext>
                </a:extLst>
              </p:cNvPr>
              <p:cNvCxnSpPr>
                <a:stCxn id="331" idx="4"/>
                <a:endCxn id="331" idx="0"/>
              </p:cNvCxnSpPr>
              <p:nvPr/>
            </p:nvCxnSpPr>
            <p:spPr>
              <a:xfrm flipH="1" flipV="1">
                <a:off x="9110611" y="1103091"/>
                <a:ext cx="988977" cy="2048251"/>
              </a:xfrm>
              <a:prstGeom prst="line">
                <a:avLst/>
              </a:prstGeom>
              <a:noFill/>
              <a:ln w="6096" cap="rnd" cmpd="sng" algn="ctr">
                <a:solidFill>
                  <a:srgbClr val="575757">
                    <a:lumMod val="40000"/>
                    <a:lumOff val="60000"/>
                  </a:srgbClr>
                </a:solidFill>
                <a:prstDash val="dash"/>
                <a:round/>
              </a:ln>
              <a:effectLst/>
            </p:spPr>
          </p:cxnSp>
        </p:grpSp>
        <p:sp>
          <p:nvSpPr>
            <p:cNvPr id="266" name="AutoShape 3">
              <a:extLst>
                <a:ext uri="{FF2B5EF4-FFF2-40B4-BE49-F238E27FC236}">
                  <a16:creationId xmlns:a16="http://schemas.microsoft.com/office/drawing/2014/main" id="{EFCFF2CD-5A56-2BA0-F50E-55B261BD59FE}"/>
                </a:ext>
              </a:extLst>
            </p:cNvPr>
            <p:cNvSpPr>
              <a:spLocks noChangeAspect="1" noChangeArrowheads="1" noTextEdit="1"/>
            </p:cNvSpPr>
            <p:nvPr/>
          </p:nvSpPr>
          <p:spPr bwMode="auto">
            <a:xfrm>
              <a:off x="2632980" y="3459832"/>
              <a:ext cx="293358"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67" name="Freeform 5">
              <a:extLst>
                <a:ext uri="{FF2B5EF4-FFF2-40B4-BE49-F238E27FC236}">
                  <a16:creationId xmlns:a16="http://schemas.microsoft.com/office/drawing/2014/main" id="{2C384695-C553-31BC-19F1-A5AA5753487A}"/>
                </a:ext>
              </a:extLst>
            </p:cNvPr>
            <p:cNvSpPr>
              <a:spLocks noEditPoints="1"/>
            </p:cNvSpPr>
            <p:nvPr/>
          </p:nvSpPr>
          <p:spPr bwMode="auto">
            <a:xfrm>
              <a:off x="2665272" y="3479207"/>
              <a:ext cx="229060"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268" name="Oval 267">
              <a:extLst>
                <a:ext uri="{FF2B5EF4-FFF2-40B4-BE49-F238E27FC236}">
                  <a16:creationId xmlns:a16="http://schemas.microsoft.com/office/drawing/2014/main" id="{1BA224E0-21AE-6A27-9F71-13630942C5F9}"/>
                </a:ext>
              </a:extLst>
            </p:cNvPr>
            <p:cNvSpPr/>
            <p:nvPr/>
          </p:nvSpPr>
          <p:spPr>
            <a:xfrm>
              <a:off x="2776284" y="3307331"/>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sp>
          <p:nvSpPr>
            <p:cNvPr id="269" name="AutoShape 23">
              <a:extLst>
                <a:ext uri="{FF2B5EF4-FFF2-40B4-BE49-F238E27FC236}">
                  <a16:creationId xmlns:a16="http://schemas.microsoft.com/office/drawing/2014/main" id="{1FF53C8A-FB75-CAD7-10F0-840329342129}"/>
                </a:ext>
              </a:extLst>
            </p:cNvPr>
            <p:cNvSpPr>
              <a:spLocks noChangeAspect="1" noChangeArrowheads="1" noTextEdit="1"/>
            </p:cNvSpPr>
            <p:nvPr/>
          </p:nvSpPr>
          <p:spPr bwMode="auto">
            <a:xfrm>
              <a:off x="2783877" y="3315593"/>
              <a:ext cx="332269"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70" name="AutoShape 3">
              <a:extLst>
                <a:ext uri="{FF2B5EF4-FFF2-40B4-BE49-F238E27FC236}">
                  <a16:creationId xmlns:a16="http://schemas.microsoft.com/office/drawing/2014/main" id="{9583181F-30E8-78C2-B33E-81EE1C25C006}"/>
                </a:ext>
              </a:extLst>
            </p:cNvPr>
            <p:cNvSpPr>
              <a:spLocks noChangeAspect="1" noChangeArrowheads="1" noTextEdit="1"/>
            </p:cNvSpPr>
            <p:nvPr/>
          </p:nvSpPr>
          <p:spPr bwMode="auto">
            <a:xfrm>
              <a:off x="3325045" y="5168768"/>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71" name="Freeform 5">
              <a:extLst>
                <a:ext uri="{FF2B5EF4-FFF2-40B4-BE49-F238E27FC236}">
                  <a16:creationId xmlns:a16="http://schemas.microsoft.com/office/drawing/2014/main" id="{F7682BF1-F789-B83B-817C-5488D22FC1AD}"/>
                </a:ext>
              </a:extLst>
            </p:cNvPr>
            <p:cNvSpPr>
              <a:spLocks noEditPoints="1"/>
            </p:cNvSpPr>
            <p:nvPr/>
          </p:nvSpPr>
          <p:spPr bwMode="auto">
            <a:xfrm>
              <a:off x="3357337" y="5188144"/>
              <a:ext cx="229059"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272" name="Oval 271">
              <a:extLst>
                <a:ext uri="{FF2B5EF4-FFF2-40B4-BE49-F238E27FC236}">
                  <a16:creationId xmlns:a16="http://schemas.microsoft.com/office/drawing/2014/main" id="{622F21AD-6FA5-FFE2-D71D-2A4F428893DF}"/>
                </a:ext>
              </a:extLst>
            </p:cNvPr>
            <p:cNvSpPr/>
            <p:nvPr/>
          </p:nvSpPr>
          <p:spPr>
            <a:xfrm>
              <a:off x="3120934" y="5016267"/>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sp>
          <p:nvSpPr>
            <p:cNvPr id="273" name="AutoShape 23">
              <a:extLst>
                <a:ext uri="{FF2B5EF4-FFF2-40B4-BE49-F238E27FC236}">
                  <a16:creationId xmlns:a16="http://schemas.microsoft.com/office/drawing/2014/main" id="{DDF46B32-0DB5-C51D-D895-C792C963113E}"/>
                </a:ext>
              </a:extLst>
            </p:cNvPr>
            <p:cNvSpPr>
              <a:spLocks noChangeAspect="1" noChangeArrowheads="1" noTextEdit="1"/>
            </p:cNvSpPr>
            <p:nvPr/>
          </p:nvSpPr>
          <p:spPr bwMode="auto">
            <a:xfrm>
              <a:off x="3128526" y="5024530"/>
              <a:ext cx="332268"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74" name="AutoShape 3">
              <a:extLst>
                <a:ext uri="{FF2B5EF4-FFF2-40B4-BE49-F238E27FC236}">
                  <a16:creationId xmlns:a16="http://schemas.microsoft.com/office/drawing/2014/main" id="{7DEA49CD-681B-A271-EA76-1549543DD3B4}"/>
                </a:ext>
              </a:extLst>
            </p:cNvPr>
            <p:cNvSpPr>
              <a:spLocks noChangeAspect="1" noChangeArrowheads="1" noTextEdit="1"/>
            </p:cNvSpPr>
            <p:nvPr/>
          </p:nvSpPr>
          <p:spPr bwMode="auto">
            <a:xfrm>
              <a:off x="1954819" y="5168768"/>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75" name="Freeform 5">
              <a:extLst>
                <a:ext uri="{FF2B5EF4-FFF2-40B4-BE49-F238E27FC236}">
                  <a16:creationId xmlns:a16="http://schemas.microsoft.com/office/drawing/2014/main" id="{09E1A27F-6154-8E38-62C2-6FFF97BCC503}"/>
                </a:ext>
              </a:extLst>
            </p:cNvPr>
            <p:cNvSpPr>
              <a:spLocks noEditPoints="1"/>
            </p:cNvSpPr>
            <p:nvPr/>
          </p:nvSpPr>
          <p:spPr bwMode="auto">
            <a:xfrm>
              <a:off x="1987112" y="5188144"/>
              <a:ext cx="229059"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276" name="Oval 275">
              <a:extLst>
                <a:ext uri="{FF2B5EF4-FFF2-40B4-BE49-F238E27FC236}">
                  <a16:creationId xmlns:a16="http://schemas.microsoft.com/office/drawing/2014/main" id="{E646FBF5-38A1-4A3D-E484-321275A6F79D}"/>
                </a:ext>
              </a:extLst>
            </p:cNvPr>
            <p:cNvSpPr/>
            <p:nvPr/>
          </p:nvSpPr>
          <p:spPr>
            <a:xfrm>
              <a:off x="2098123" y="5016267"/>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278" name="bcgBugs_Database">
              <a:extLst>
                <a:ext uri="{FF2B5EF4-FFF2-40B4-BE49-F238E27FC236}">
                  <a16:creationId xmlns:a16="http://schemas.microsoft.com/office/drawing/2014/main" id="{F8BA29C1-3D26-74B2-9EB7-359CA41E4221}"/>
                </a:ext>
              </a:extLst>
            </p:cNvPr>
            <p:cNvGrpSpPr>
              <a:grpSpLocks noChangeAspect="1"/>
            </p:cNvGrpSpPr>
            <p:nvPr/>
          </p:nvGrpSpPr>
          <p:grpSpPr bwMode="auto">
            <a:xfrm>
              <a:off x="1640044" y="4164781"/>
              <a:ext cx="293358" cy="293644"/>
              <a:chOff x="2818" y="1137"/>
              <a:chExt cx="2044" cy="2046"/>
            </a:xfrm>
            <a:noFill/>
          </p:grpSpPr>
          <p:sp>
            <p:nvSpPr>
              <p:cNvPr id="329" name="AutoShape 3">
                <a:extLst>
                  <a:ext uri="{FF2B5EF4-FFF2-40B4-BE49-F238E27FC236}">
                    <a16:creationId xmlns:a16="http://schemas.microsoft.com/office/drawing/2014/main" id="{3E3EC54F-948B-E897-8627-4F94E494B4FD}"/>
                  </a:ext>
                </a:extLst>
              </p:cNvPr>
              <p:cNvSpPr>
                <a:spLocks noChangeAspect="1" noChangeArrowheads="1" noTextEdit="1"/>
              </p:cNvSpPr>
              <p:nvPr/>
            </p:nvSpPr>
            <p:spPr bwMode="auto">
              <a:xfrm>
                <a:off x="2818" y="1137"/>
                <a:ext cx="2044" cy="20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330" name="Freeform 5">
                <a:extLst>
                  <a:ext uri="{FF2B5EF4-FFF2-40B4-BE49-F238E27FC236}">
                    <a16:creationId xmlns:a16="http://schemas.microsoft.com/office/drawing/2014/main" id="{A244EA8D-A13E-FF95-15AF-3180BAA75B77}"/>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sp>
          <p:nvSpPr>
            <p:cNvPr id="279" name="Oval 278">
              <a:extLst>
                <a:ext uri="{FF2B5EF4-FFF2-40B4-BE49-F238E27FC236}">
                  <a16:creationId xmlns:a16="http://schemas.microsoft.com/office/drawing/2014/main" id="{D3E96938-73ED-8FFA-D47E-55F121366B5B}"/>
                </a:ext>
              </a:extLst>
            </p:cNvPr>
            <p:cNvSpPr/>
            <p:nvPr/>
          </p:nvSpPr>
          <p:spPr>
            <a:xfrm>
              <a:off x="1783348" y="4012280"/>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sp>
          <p:nvSpPr>
            <p:cNvPr id="280" name="AutoShape 23">
              <a:extLst>
                <a:ext uri="{FF2B5EF4-FFF2-40B4-BE49-F238E27FC236}">
                  <a16:creationId xmlns:a16="http://schemas.microsoft.com/office/drawing/2014/main" id="{9531B6B5-8A54-C4CB-FDFE-53170BD12FA1}"/>
                </a:ext>
              </a:extLst>
            </p:cNvPr>
            <p:cNvSpPr>
              <a:spLocks noChangeAspect="1" noChangeArrowheads="1" noTextEdit="1"/>
            </p:cNvSpPr>
            <p:nvPr/>
          </p:nvSpPr>
          <p:spPr bwMode="auto">
            <a:xfrm>
              <a:off x="1790940" y="4020542"/>
              <a:ext cx="332269"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81" name="AutoShape 3">
              <a:extLst>
                <a:ext uri="{FF2B5EF4-FFF2-40B4-BE49-F238E27FC236}">
                  <a16:creationId xmlns:a16="http://schemas.microsoft.com/office/drawing/2014/main" id="{AD428DE7-62A3-BFE8-25BA-762178BCA5B1}"/>
                </a:ext>
              </a:extLst>
            </p:cNvPr>
            <p:cNvSpPr>
              <a:spLocks noChangeAspect="1" noChangeArrowheads="1" noTextEdit="1"/>
            </p:cNvSpPr>
            <p:nvPr/>
          </p:nvSpPr>
          <p:spPr bwMode="auto">
            <a:xfrm>
              <a:off x="3650169" y="4161660"/>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82" name="Freeform 5">
              <a:extLst>
                <a:ext uri="{FF2B5EF4-FFF2-40B4-BE49-F238E27FC236}">
                  <a16:creationId xmlns:a16="http://schemas.microsoft.com/office/drawing/2014/main" id="{3B71D27C-4C8C-71CA-74F2-90B980E187C0}"/>
                </a:ext>
              </a:extLst>
            </p:cNvPr>
            <p:cNvSpPr>
              <a:spLocks noEditPoints="1"/>
            </p:cNvSpPr>
            <p:nvPr/>
          </p:nvSpPr>
          <p:spPr bwMode="auto">
            <a:xfrm>
              <a:off x="3682461" y="4181036"/>
              <a:ext cx="229059"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283" name="Oval 282">
              <a:extLst>
                <a:ext uri="{FF2B5EF4-FFF2-40B4-BE49-F238E27FC236}">
                  <a16:creationId xmlns:a16="http://schemas.microsoft.com/office/drawing/2014/main" id="{99CE0085-23CA-D031-156B-856F8F6E0581}"/>
                </a:ext>
              </a:extLst>
            </p:cNvPr>
            <p:cNvSpPr/>
            <p:nvPr/>
          </p:nvSpPr>
          <p:spPr>
            <a:xfrm>
              <a:off x="3446058" y="4009159"/>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sp>
          <p:nvSpPr>
            <p:cNvPr id="284" name="AutoShape 23">
              <a:extLst>
                <a:ext uri="{FF2B5EF4-FFF2-40B4-BE49-F238E27FC236}">
                  <a16:creationId xmlns:a16="http://schemas.microsoft.com/office/drawing/2014/main" id="{D91DB562-3B85-9F3B-298E-0699933E6C19}"/>
                </a:ext>
              </a:extLst>
            </p:cNvPr>
            <p:cNvSpPr>
              <a:spLocks noChangeAspect="1" noChangeArrowheads="1" noTextEdit="1"/>
            </p:cNvSpPr>
            <p:nvPr/>
          </p:nvSpPr>
          <p:spPr bwMode="auto">
            <a:xfrm>
              <a:off x="3453650" y="4017422"/>
              <a:ext cx="332268"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293" name="Freeform 6">
              <a:extLst>
                <a:ext uri="{FF2B5EF4-FFF2-40B4-BE49-F238E27FC236}">
                  <a16:creationId xmlns:a16="http://schemas.microsoft.com/office/drawing/2014/main" id="{244DF888-E4B0-1B65-9D68-818D1803EE50}"/>
                </a:ext>
              </a:extLst>
            </p:cNvPr>
            <p:cNvSpPr/>
            <p:nvPr/>
          </p:nvSpPr>
          <p:spPr>
            <a:xfrm>
              <a:off x="1405816" y="5341311"/>
              <a:ext cx="502129" cy="529185"/>
            </a:xfrm>
            <a:custGeom>
              <a:avLst/>
              <a:gdLst>
                <a:gd name="connsiteX0" fmla="*/ 3472852 w 3593592"/>
                <a:gd name="connsiteY0" fmla="*/ 3187582 h 5217566"/>
                <a:gd name="connsiteX1" fmla="*/ 3593553 w 3593592"/>
                <a:gd name="connsiteY1" fmla="*/ 3066881 h 5217566"/>
                <a:gd name="connsiteX2" fmla="*/ 3593553 w 3593592"/>
                <a:gd name="connsiteY2" fmla="*/ 2578592 h 5217566"/>
                <a:gd name="connsiteX3" fmla="*/ 3472852 w 3593592"/>
                <a:gd name="connsiteY3" fmla="*/ 2457891 h 5217566"/>
                <a:gd name="connsiteX4" fmla="*/ 3258882 w 3593592"/>
                <a:gd name="connsiteY4" fmla="*/ 2457891 h 5217566"/>
                <a:gd name="connsiteX5" fmla="*/ 1909228 w 3593592"/>
                <a:gd name="connsiteY5" fmla="*/ 1267342 h 5217566"/>
                <a:gd name="connsiteX6" fmla="*/ 1909228 w 3593592"/>
                <a:gd name="connsiteY6" fmla="*/ 905230 h 5217566"/>
                <a:gd name="connsiteX7" fmla="*/ 2496293 w 3593592"/>
                <a:gd name="connsiteY7" fmla="*/ 905230 h 5217566"/>
                <a:gd name="connsiteX8" fmla="*/ 2616993 w 3593592"/>
                <a:gd name="connsiteY8" fmla="*/ 784529 h 5217566"/>
                <a:gd name="connsiteX9" fmla="*/ 2616993 w 3593592"/>
                <a:gd name="connsiteY9" fmla="*/ 263331 h 5217566"/>
                <a:gd name="connsiteX10" fmla="*/ 2496293 w 3593592"/>
                <a:gd name="connsiteY10" fmla="*/ 142630 h 5217566"/>
                <a:gd name="connsiteX11" fmla="*/ 1914744 w 3593592"/>
                <a:gd name="connsiteY11" fmla="*/ 142630 h 5217566"/>
                <a:gd name="connsiteX12" fmla="*/ 1914744 w 3593592"/>
                <a:gd name="connsiteY12" fmla="*/ 120701 h 5217566"/>
                <a:gd name="connsiteX13" fmla="*/ 1794043 w 3593592"/>
                <a:gd name="connsiteY13" fmla="*/ 0 h 5217566"/>
                <a:gd name="connsiteX14" fmla="*/ 1673342 w 3593592"/>
                <a:gd name="connsiteY14" fmla="*/ 120701 h 5217566"/>
                <a:gd name="connsiteX15" fmla="*/ 1673342 w 3593592"/>
                <a:gd name="connsiteY15" fmla="*/ 1267358 h 5217566"/>
                <a:gd name="connsiteX16" fmla="*/ 323688 w 3593592"/>
                <a:gd name="connsiteY16" fmla="*/ 2457907 h 5217566"/>
                <a:gd name="connsiteX17" fmla="*/ 120701 w 3593592"/>
                <a:gd name="connsiteY17" fmla="*/ 2457907 h 5217566"/>
                <a:gd name="connsiteX18" fmla="*/ 0 w 3593592"/>
                <a:gd name="connsiteY18" fmla="*/ 2578608 h 5217566"/>
                <a:gd name="connsiteX19" fmla="*/ 0 w 3593592"/>
                <a:gd name="connsiteY19" fmla="*/ 3066898 h 5217566"/>
                <a:gd name="connsiteX20" fmla="*/ 120701 w 3593592"/>
                <a:gd name="connsiteY20" fmla="*/ 3187598 h 5217566"/>
                <a:gd name="connsiteX21" fmla="*/ 301752 w 3593592"/>
                <a:gd name="connsiteY21" fmla="*/ 3187598 h 5217566"/>
                <a:gd name="connsiteX22" fmla="*/ 301752 w 3593592"/>
                <a:gd name="connsiteY22" fmla="*/ 4487875 h 5217566"/>
                <a:gd name="connsiteX23" fmla="*/ 120701 w 3593592"/>
                <a:gd name="connsiteY23" fmla="*/ 4487875 h 5217566"/>
                <a:gd name="connsiteX24" fmla="*/ 0 w 3593592"/>
                <a:gd name="connsiteY24" fmla="*/ 4608576 h 5217566"/>
                <a:gd name="connsiteX25" fmla="*/ 0 w 3593592"/>
                <a:gd name="connsiteY25" fmla="*/ 5096866 h 5217566"/>
                <a:gd name="connsiteX26" fmla="*/ 120701 w 3593592"/>
                <a:gd name="connsiteY26" fmla="*/ 5217567 h 5217566"/>
                <a:gd name="connsiteX27" fmla="*/ 3472891 w 3593592"/>
                <a:gd name="connsiteY27" fmla="*/ 5217567 h 5217566"/>
                <a:gd name="connsiteX28" fmla="*/ 3593592 w 3593592"/>
                <a:gd name="connsiteY28" fmla="*/ 5096866 h 5217566"/>
                <a:gd name="connsiteX29" fmla="*/ 3593592 w 3593592"/>
                <a:gd name="connsiteY29" fmla="*/ 4608576 h 5217566"/>
                <a:gd name="connsiteX30" fmla="*/ 3472891 w 3593592"/>
                <a:gd name="connsiteY30" fmla="*/ 4487875 h 5217566"/>
                <a:gd name="connsiteX31" fmla="*/ 3291840 w 3593592"/>
                <a:gd name="connsiteY31" fmla="*/ 4487875 h 5217566"/>
                <a:gd name="connsiteX32" fmla="*/ 3291840 w 3593592"/>
                <a:gd name="connsiteY32" fmla="*/ 3187598 h 5217566"/>
                <a:gd name="connsiteX33" fmla="*/ 2381058 w 3593592"/>
                <a:gd name="connsiteY33" fmla="*/ 378545 h 5217566"/>
                <a:gd name="connsiteX34" fmla="*/ 2381058 w 3593592"/>
                <a:gd name="connsiteY34" fmla="*/ 663848 h 5217566"/>
                <a:gd name="connsiteX35" fmla="*/ 1914695 w 3593592"/>
                <a:gd name="connsiteY35" fmla="*/ 663848 h 5217566"/>
                <a:gd name="connsiteX36" fmla="*/ 1914733 w 3593592"/>
                <a:gd name="connsiteY36" fmla="*/ 378545 h 5217566"/>
                <a:gd name="connsiteX37" fmla="*/ 1794033 w 3593592"/>
                <a:gd name="connsiteY37" fmla="*/ 1497771 h 5217566"/>
                <a:gd name="connsiteX38" fmla="*/ 3017500 w 3593592"/>
                <a:gd name="connsiteY38" fmla="*/ 2457891 h 5217566"/>
                <a:gd name="connsiteX39" fmla="*/ 570566 w 3593592"/>
                <a:gd name="connsiteY39" fmla="*/ 2457891 h 5217566"/>
                <a:gd name="connsiteX40" fmla="*/ 1794033 w 3593592"/>
                <a:gd name="connsiteY40" fmla="*/ 1497771 h 5217566"/>
                <a:gd name="connsiteX41" fmla="*/ 241382 w 3593592"/>
                <a:gd name="connsiteY41" fmla="*/ 2693806 h 5217566"/>
                <a:gd name="connsiteX42" fmla="*/ 3357657 w 3593592"/>
                <a:gd name="connsiteY42" fmla="*/ 2693806 h 5217566"/>
                <a:gd name="connsiteX43" fmla="*/ 3357657 w 3593592"/>
                <a:gd name="connsiteY43" fmla="*/ 2946200 h 5217566"/>
                <a:gd name="connsiteX44" fmla="*/ 241382 w 3593592"/>
                <a:gd name="connsiteY44" fmla="*/ 2946162 h 5217566"/>
                <a:gd name="connsiteX45" fmla="*/ 2194540 w 3593592"/>
                <a:gd name="connsiteY45" fmla="*/ 4482372 h 5217566"/>
                <a:gd name="connsiteX46" fmla="*/ 2194540 w 3593592"/>
                <a:gd name="connsiteY46" fmla="*/ 3187582 h 5217566"/>
                <a:gd name="connsiteX47" fmla="*/ 2507285 w 3593592"/>
                <a:gd name="connsiteY47" fmla="*/ 3187582 h 5217566"/>
                <a:gd name="connsiteX48" fmla="*/ 2507285 w 3593592"/>
                <a:gd name="connsiteY48" fmla="*/ 4487859 h 5217566"/>
                <a:gd name="connsiteX49" fmla="*/ 2194540 w 3593592"/>
                <a:gd name="connsiteY49" fmla="*/ 4487859 h 5217566"/>
                <a:gd name="connsiteX50" fmla="*/ 1404489 w 3593592"/>
                <a:gd name="connsiteY50" fmla="*/ 3187582 h 5217566"/>
                <a:gd name="connsiteX51" fmla="*/ 1404489 w 3593592"/>
                <a:gd name="connsiteY51" fmla="*/ 4487859 h 5217566"/>
                <a:gd name="connsiteX52" fmla="*/ 1091745 w 3593592"/>
                <a:gd name="connsiteY52" fmla="*/ 4487859 h 5217566"/>
                <a:gd name="connsiteX53" fmla="*/ 1091783 w 3593592"/>
                <a:gd name="connsiteY53" fmla="*/ 3187582 h 5217566"/>
                <a:gd name="connsiteX54" fmla="*/ 1645900 w 3593592"/>
                <a:gd name="connsiteY54" fmla="*/ 3187582 h 5217566"/>
                <a:gd name="connsiteX55" fmla="*/ 1958645 w 3593592"/>
                <a:gd name="connsiteY55" fmla="*/ 3187582 h 5217566"/>
                <a:gd name="connsiteX56" fmla="*/ 1958645 w 3593592"/>
                <a:gd name="connsiteY56" fmla="*/ 4487859 h 5217566"/>
                <a:gd name="connsiteX57" fmla="*/ 1645900 w 3593592"/>
                <a:gd name="connsiteY57" fmla="*/ 4487859 h 5217566"/>
                <a:gd name="connsiteX58" fmla="*/ 543134 w 3593592"/>
                <a:gd name="connsiteY58" fmla="*/ 3187582 h 5217566"/>
                <a:gd name="connsiteX59" fmla="*/ 855878 w 3593592"/>
                <a:gd name="connsiteY59" fmla="*/ 3187582 h 5217566"/>
                <a:gd name="connsiteX60" fmla="*/ 855878 w 3593592"/>
                <a:gd name="connsiteY60" fmla="*/ 4487859 h 5217566"/>
                <a:gd name="connsiteX61" fmla="*/ 543134 w 3593592"/>
                <a:gd name="connsiteY61" fmla="*/ 4487859 h 5217566"/>
                <a:gd name="connsiteX62" fmla="*/ 3357657 w 3593592"/>
                <a:gd name="connsiteY62" fmla="*/ 4976148 h 5217566"/>
                <a:gd name="connsiteX63" fmla="*/ 241382 w 3593592"/>
                <a:gd name="connsiteY63" fmla="*/ 4976148 h 5217566"/>
                <a:gd name="connsiteX64" fmla="*/ 241382 w 3593592"/>
                <a:gd name="connsiteY64" fmla="*/ 4723754 h 5217566"/>
                <a:gd name="connsiteX65" fmla="*/ 3357657 w 3593592"/>
                <a:gd name="connsiteY65" fmla="*/ 4723754 h 5217566"/>
                <a:gd name="connsiteX66" fmla="*/ 3055895 w 3593592"/>
                <a:gd name="connsiteY66" fmla="*/ 4482353 h 5217566"/>
                <a:gd name="connsiteX67" fmla="*/ 2743151 w 3593592"/>
                <a:gd name="connsiteY67" fmla="*/ 4482353 h 5217566"/>
                <a:gd name="connsiteX68" fmla="*/ 2743189 w 3593592"/>
                <a:gd name="connsiteY68" fmla="*/ 3187562 h 5217566"/>
                <a:gd name="connsiteX69" fmla="*/ 3055934 w 3593592"/>
                <a:gd name="connsiteY69" fmla="*/ 3187562 h 5217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593592" h="5217566">
                  <a:moveTo>
                    <a:pt x="3472852" y="3187582"/>
                  </a:moveTo>
                  <a:cubicBezTo>
                    <a:pt x="3538677" y="3187582"/>
                    <a:pt x="3593553" y="3132702"/>
                    <a:pt x="3593553" y="3066881"/>
                  </a:cubicBezTo>
                  <a:lnTo>
                    <a:pt x="3593553" y="2578592"/>
                  </a:lnTo>
                  <a:cubicBezTo>
                    <a:pt x="3593553" y="2512766"/>
                    <a:pt x="3538673" y="2457891"/>
                    <a:pt x="3472852" y="2457891"/>
                  </a:cubicBezTo>
                  <a:lnTo>
                    <a:pt x="3258882" y="2457891"/>
                  </a:lnTo>
                  <a:cubicBezTo>
                    <a:pt x="3127199" y="1810515"/>
                    <a:pt x="2578559" y="1316719"/>
                    <a:pt x="1909228" y="1267342"/>
                  </a:cubicBezTo>
                  <a:lnTo>
                    <a:pt x="1909228" y="905230"/>
                  </a:lnTo>
                  <a:lnTo>
                    <a:pt x="2496293" y="905230"/>
                  </a:lnTo>
                  <a:cubicBezTo>
                    <a:pt x="2562117" y="905230"/>
                    <a:pt x="2616993" y="850350"/>
                    <a:pt x="2616993" y="784529"/>
                  </a:cubicBezTo>
                  <a:lnTo>
                    <a:pt x="2616993" y="263331"/>
                  </a:lnTo>
                  <a:cubicBezTo>
                    <a:pt x="2616993" y="197506"/>
                    <a:pt x="2562114" y="142630"/>
                    <a:pt x="2496293" y="142630"/>
                  </a:cubicBezTo>
                  <a:lnTo>
                    <a:pt x="1914744" y="142630"/>
                  </a:lnTo>
                  <a:lnTo>
                    <a:pt x="1914744" y="120701"/>
                  </a:lnTo>
                  <a:cubicBezTo>
                    <a:pt x="1914744" y="54876"/>
                    <a:pt x="1859864" y="0"/>
                    <a:pt x="1794043" y="0"/>
                  </a:cubicBezTo>
                  <a:cubicBezTo>
                    <a:pt x="1728222" y="0"/>
                    <a:pt x="1673342" y="54880"/>
                    <a:pt x="1673342" y="120701"/>
                  </a:cubicBezTo>
                  <a:lnTo>
                    <a:pt x="1673342" y="1267358"/>
                  </a:lnTo>
                  <a:cubicBezTo>
                    <a:pt x="1004001" y="1322238"/>
                    <a:pt x="455361" y="1815998"/>
                    <a:pt x="323688" y="2457907"/>
                  </a:cubicBezTo>
                  <a:lnTo>
                    <a:pt x="120701" y="2457907"/>
                  </a:lnTo>
                  <a:cubicBezTo>
                    <a:pt x="54876" y="2457907"/>
                    <a:pt x="0" y="2512787"/>
                    <a:pt x="0" y="2578608"/>
                  </a:cubicBezTo>
                  <a:lnTo>
                    <a:pt x="0" y="3066898"/>
                  </a:lnTo>
                  <a:cubicBezTo>
                    <a:pt x="0" y="3132723"/>
                    <a:pt x="54880" y="3187598"/>
                    <a:pt x="120701" y="3187598"/>
                  </a:cubicBezTo>
                  <a:lnTo>
                    <a:pt x="301752" y="3187598"/>
                  </a:lnTo>
                  <a:lnTo>
                    <a:pt x="301752" y="4487875"/>
                  </a:lnTo>
                  <a:lnTo>
                    <a:pt x="120701" y="4487875"/>
                  </a:lnTo>
                  <a:cubicBezTo>
                    <a:pt x="54876" y="4487875"/>
                    <a:pt x="0" y="4542755"/>
                    <a:pt x="0" y="4608576"/>
                  </a:cubicBezTo>
                  <a:lnTo>
                    <a:pt x="0" y="5096866"/>
                  </a:lnTo>
                  <a:cubicBezTo>
                    <a:pt x="0" y="5162691"/>
                    <a:pt x="54880" y="5217567"/>
                    <a:pt x="120701" y="5217567"/>
                  </a:cubicBezTo>
                  <a:lnTo>
                    <a:pt x="3472891" y="5217567"/>
                  </a:lnTo>
                  <a:cubicBezTo>
                    <a:pt x="3538717" y="5217567"/>
                    <a:pt x="3593592" y="5162687"/>
                    <a:pt x="3593592" y="5096866"/>
                  </a:cubicBezTo>
                  <a:lnTo>
                    <a:pt x="3593592" y="4608576"/>
                  </a:lnTo>
                  <a:cubicBezTo>
                    <a:pt x="3593592" y="4542751"/>
                    <a:pt x="3538712" y="4487875"/>
                    <a:pt x="3472891" y="4487875"/>
                  </a:cubicBezTo>
                  <a:lnTo>
                    <a:pt x="3291840" y="4487875"/>
                  </a:lnTo>
                  <a:lnTo>
                    <a:pt x="3291840" y="3187598"/>
                  </a:lnTo>
                  <a:close/>
                  <a:moveTo>
                    <a:pt x="2381058" y="378545"/>
                  </a:moveTo>
                  <a:lnTo>
                    <a:pt x="2381058" y="663848"/>
                  </a:lnTo>
                  <a:lnTo>
                    <a:pt x="1914695" y="663848"/>
                  </a:lnTo>
                  <a:lnTo>
                    <a:pt x="1914733" y="378545"/>
                  </a:lnTo>
                  <a:close/>
                  <a:moveTo>
                    <a:pt x="1794033" y="1497771"/>
                  </a:moveTo>
                  <a:cubicBezTo>
                    <a:pt x="2386564" y="1497771"/>
                    <a:pt x="2880340" y="1909251"/>
                    <a:pt x="3017500" y="2457891"/>
                  </a:cubicBezTo>
                  <a:lnTo>
                    <a:pt x="570566" y="2457891"/>
                  </a:lnTo>
                  <a:cubicBezTo>
                    <a:pt x="707726" y="1909251"/>
                    <a:pt x="1201522" y="1497771"/>
                    <a:pt x="1794033" y="1497771"/>
                  </a:cubicBezTo>
                  <a:close/>
                  <a:moveTo>
                    <a:pt x="241382" y="2693806"/>
                  </a:moveTo>
                  <a:lnTo>
                    <a:pt x="3357657" y="2693806"/>
                  </a:lnTo>
                  <a:lnTo>
                    <a:pt x="3357657" y="2946200"/>
                  </a:lnTo>
                  <a:lnTo>
                    <a:pt x="241382" y="2946162"/>
                  </a:lnTo>
                  <a:close/>
                  <a:moveTo>
                    <a:pt x="2194540" y="4482372"/>
                  </a:moveTo>
                  <a:lnTo>
                    <a:pt x="2194540" y="3187582"/>
                  </a:lnTo>
                  <a:lnTo>
                    <a:pt x="2507285" y="3187582"/>
                  </a:lnTo>
                  <a:lnTo>
                    <a:pt x="2507285" y="4487859"/>
                  </a:lnTo>
                  <a:lnTo>
                    <a:pt x="2194540" y="4487859"/>
                  </a:lnTo>
                  <a:close/>
                  <a:moveTo>
                    <a:pt x="1404489" y="3187582"/>
                  </a:moveTo>
                  <a:lnTo>
                    <a:pt x="1404489" y="4487859"/>
                  </a:lnTo>
                  <a:lnTo>
                    <a:pt x="1091745" y="4487859"/>
                  </a:lnTo>
                  <a:lnTo>
                    <a:pt x="1091783" y="3187582"/>
                  </a:lnTo>
                  <a:close/>
                  <a:moveTo>
                    <a:pt x="1645900" y="3187582"/>
                  </a:moveTo>
                  <a:lnTo>
                    <a:pt x="1958645" y="3187582"/>
                  </a:lnTo>
                  <a:lnTo>
                    <a:pt x="1958645" y="4487859"/>
                  </a:lnTo>
                  <a:lnTo>
                    <a:pt x="1645900" y="4487859"/>
                  </a:lnTo>
                  <a:close/>
                  <a:moveTo>
                    <a:pt x="543134" y="3187582"/>
                  </a:moveTo>
                  <a:lnTo>
                    <a:pt x="855878" y="3187582"/>
                  </a:lnTo>
                  <a:lnTo>
                    <a:pt x="855878" y="4487859"/>
                  </a:lnTo>
                  <a:lnTo>
                    <a:pt x="543134" y="4487859"/>
                  </a:lnTo>
                  <a:close/>
                  <a:moveTo>
                    <a:pt x="3357657" y="4976148"/>
                  </a:moveTo>
                  <a:lnTo>
                    <a:pt x="241382" y="4976148"/>
                  </a:lnTo>
                  <a:lnTo>
                    <a:pt x="241382" y="4723754"/>
                  </a:lnTo>
                  <a:lnTo>
                    <a:pt x="3357657" y="4723754"/>
                  </a:lnTo>
                  <a:close/>
                  <a:moveTo>
                    <a:pt x="3055895" y="4482353"/>
                  </a:moveTo>
                  <a:lnTo>
                    <a:pt x="2743151" y="4482353"/>
                  </a:lnTo>
                  <a:lnTo>
                    <a:pt x="2743189" y="3187562"/>
                  </a:lnTo>
                  <a:lnTo>
                    <a:pt x="3055934" y="3187562"/>
                  </a:lnTo>
                  <a:close/>
                </a:path>
              </a:pathLst>
            </a:custGeom>
            <a:solidFill>
              <a:schemeClr val="accent3"/>
            </a:solidFill>
            <a:ln w="9797" cap="flat">
              <a:noFill/>
              <a:prstDash val="solid"/>
              <a:miter/>
            </a:ln>
          </p:spPr>
          <p:txBody>
            <a:bodyPr rtlCol="0" anchor="ctr"/>
            <a:lstStyle/>
            <a:p>
              <a:endParaRPr lang="en-US">
                <a:solidFill>
                  <a:srgbClr val="FFFFFF"/>
                </a:solidFill>
                <a:latin typeface="EYInterstate Light" panose="02000506000000020004" pitchFamily="2" charset="0"/>
              </a:endParaRPr>
            </a:p>
          </p:txBody>
        </p:sp>
        <p:grpSp>
          <p:nvGrpSpPr>
            <p:cNvPr id="349" name="Group 348">
              <a:extLst>
                <a:ext uri="{FF2B5EF4-FFF2-40B4-BE49-F238E27FC236}">
                  <a16:creationId xmlns:a16="http://schemas.microsoft.com/office/drawing/2014/main" id="{0E8D47BD-0EFB-43A8-A834-5F8BF56C754D}"/>
                </a:ext>
              </a:extLst>
            </p:cNvPr>
            <p:cNvGrpSpPr/>
            <p:nvPr/>
          </p:nvGrpSpPr>
          <p:grpSpPr>
            <a:xfrm>
              <a:off x="1868224" y="4052093"/>
              <a:ext cx="181640" cy="264388"/>
              <a:chOff x="8011647" y="3014804"/>
              <a:chExt cx="347450" cy="506430"/>
            </a:xfrm>
          </p:grpSpPr>
          <p:sp>
            <p:nvSpPr>
              <p:cNvPr id="344" name="Freeform 25">
                <a:extLst>
                  <a:ext uri="{FF2B5EF4-FFF2-40B4-BE49-F238E27FC236}">
                    <a16:creationId xmlns:a16="http://schemas.microsoft.com/office/drawing/2014/main" id="{DCCE9289-2BCA-D5B5-2503-366F8A76E64D}"/>
                  </a:ext>
                </a:extLst>
              </p:cNvPr>
              <p:cNvSpPr>
                <a:spLocks/>
              </p:cNvSpPr>
              <p:nvPr/>
            </p:nvSpPr>
            <p:spPr bwMode="auto">
              <a:xfrm>
                <a:off x="8011647" y="3059765"/>
                <a:ext cx="347450" cy="461469"/>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45" name="Freeform 26">
                <a:extLst>
                  <a:ext uri="{FF2B5EF4-FFF2-40B4-BE49-F238E27FC236}">
                    <a16:creationId xmlns:a16="http://schemas.microsoft.com/office/drawing/2014/main" id="{1527B9B0-F36B-4C58-1804-E5C5FC301BE7}"/>
                  </a:ext>
                </a:extLst>
              </p:cNvPr>
              <p:cNvSpPr>
                <a:spLocks noEditPoints="1"/>
              </p:cNvSpPr>
              <p:nvPr/>
            </p:nvSpPr>
            <p:spPr bwMode="auto">
              <a:xfrm>
                <a:off x="8065672" y="3014804"/>
                <a:ext cx="239399" cy="436131"/>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accent1">
                  <a:lumMod val="60000"/>
                  <a:lumOff val="4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46" name="Rectangle 345">
                <a:extLst>
                  <a:ext uri="{FF2B5EF4-FFF2-40B4-BE49-F238E27FC236}">
                    <a16:creationId xmlns:a16="http://schemas.microsoft.com/office/drawing/2014/main" id="{9424EED0-8ECD-F22A-6C5B-D16C4F0CD4AA}"/>
                  </a:ext>
                </a:extLst>
              </p:cNvPr>
              <p:cNvSpPr/>
              <p:nvPr/>
            </p:nvSpPr>
            <p:spPr>
              <a:xfrm>
                <a:off x="8051653" y="3147741"/>
                <a:ext cx="269203" cy="3164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347" name="Diamond 346">
                <a:extLst>
                  <a:ext uri="{FF2B5EF4-FFF2-40B4-BE49-F238E27FC236}">
                    <a16:creationId xmlns:a16="http://schemas.microsoft.com/office/drawing/2014/main" id="{06ACA543-227B-8103-D40A-21766B19F209}"/>
                  </a:ext>
                </a:extLst>
              </p:cNvPr>
              <p:cNvSpPr/>
              <p:nvPr/>
            </p:nvSpPr>
            <p:spPr>
              <a:xfrm>
                <a:off x="8096599" y="3223851"/>
                <a:ext cx="188865" cy="188864"/>
              </a:xfrm>
              <a:prstGeom prst="diamond">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368" name="Group 367">
              <a:extLst>
                <a:ext uri="{FF2B5EF4-FFF2-40B4-BE49-F238E27FC236}">
                  <a16:creationId xmlns:a16="http://schemas.microsoft.com/office/drawing/2014/main" id="{56EC7F64-CF0A-8CB6-E9C4-7027DCDD65CA}"/>
                </a:ext>
              </a:extLst>
            </p:cNvPr>
            <p:cNvGrpSpPr/>
            <p:nvPr/>
          </p:nvGrpSpPr>
          <p:grpSpPr>
            <a:xfrm>
              <a:off x="2865661" y="3352198"/>
              <a:ext cx="181640" cy="264389"/>
              <a:chOff x="5290339" y="1745898"/>
              <a:chExt cx="1272385" cy="1854582"/>
            </a:xfrm>
          </p:grpSpPr>
          <p:sp>
            <p:nvSpPr>
              <p:cNvPr id="339" name="Freeform 25">
                <a:extLst>
                  <a:ext uri="{FF2B5EF4-FFF2-40B4-BE49-F238E27FC236}">
                    <a16:creationId xmlns:a16="http://schemas.microsoft.com/office/drawing/2014/main" id="{4BEAD3D1-C733-494E-956E-8EC5977E7637}"/>
                  </a:ext>
                </a:extLst>
              </p:cNvPr>
              <p:cNvSpPr>
                <a:spLocks/>
              </p:cNvSpPr>
              <p:nvPr/>
            </p:nvSpPr>
            <p:spPr bwMode="auto">
              <a:xfrm>
                <a:off x="5290339" y="1910551"/>
                <a:ext cx="1272385" cy="1689929"/>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40" name="Freeform 26">
                <a:extLst>
                  <a:ext uri="{FF2B5EF4-FFF2-40B4-BE49-F238E27FC236}">
                    <a16:creationId xmlns:a16="http://schemas.microsoft.com/office/drawing/2014/main" id="{CF564734-2F30-2E41-7FAF-0ED5E7AA0180}"/>
                  </a:ext>
                </a:extLst>
              </p:cNvPr>
              <p:cNvSpPr>
                <a:spLocks noEditPoints="1"/>
              </p:cNvSpPr>
              <p:nvPr/>
            </p:nvSpPr>
            <p:spPr bwMode="auto">
              <a:xfrm>
                <a:off x="5488185" y="1745898"/>
                <a:ext cx="876693" cy="1597142"/>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rgbClr val="0A6E7C"/>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42" name="Rectangle 341">
                <a:extLst>
                  <a:ext uri="{FF2B5EF4-FFF2-40B4-BE49-F238E27FC236}">
                    <a16:creationId xmlns:a16="http://schemas.microsoft.com/office/drawing/2014/main" id="{29834B14-DA03-B71D-9C04-45CB6CAEA035}"/>
                  </a:ext>
                </a:extLst>
              </p:cNvPr>
              <p:cNvSpPr/>
              <p:nvPr/>
            </p:nvSpPr>
            <p:spPr>
              <a:xfrm>
                <a:off x="5436843" y="2232723"/>
                <a:ext cx="985838" cy="115897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350" name="Trapezoid 349">
                <a:extLst>
                  <a:ext uri="{FF2B5EF4-FFF2-40B4-BE49-F238E27FC236}">
                    <a16:creationId xmlns:a16="http://schemas.microsoft.com/office/drawing/2014/main" id="{38419DEC-2906-F20B-AB38-194BE8D76983}"/>
                  </a:ext>
                </a:extLst>
              </p:cNvPr>
              <p:cNvSpPr/>
              <p:nvPr/>
            </p:nvSpPr>
            <p:spPr>
              <a:xfrm>
                <a:off x="5618711" y="2483201"/>
                <a:ext cx="615637" cy="615637"/>
              </a:xfrm>
              <a:prstGeom prst="trapezoid">
                <a:avLst/>
              </a:prstGeom>
              <a:solidFill>
                <a:srgbClr val="0A6E7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355" name="Group 354">
              <a:extLst>
                <a:ext uri="{FF2B5EF4-FFF2-40B4-BE49-F238E27FC236}">
                  <a16:creationId xmlns:a16="http://schemas.microsoft.com/office/drawing/2014/main" id="{F4877BE8-D216-D818-4B54-5C5FDD7F4488}"/>
                </a:ext>
              </a:extLst>
            </p:cNvPr>
            <p:cNvGrpSpPr/>
            <p:nvPr/>
          </p:nvGrpSpPr>
          <p:grpSpPr>
            <a:xfrm>
              <a:off x="3529461" y="4052099"/>
              <a:ext cx="181640" cy="264389"/>
              <a:chOff x="7654918" y="1090684"/>
              <a:chExt cx="1272385" cy="1854582"/>
            </a:xfrm>
          </p:grpSpPr>
          <p:sp>
            <p:nvSpPr>
              <p:cNvPr id="351" name="Freeform 25">
                <a:extLst>
                  <a:ext uri="{FF2B5EF4-FFF2-40B4-BE49-F238E27FC236}">
                    <a16:creationId xmlns:a16="http://schemas.microsoft.com/office/drawing/2014/main" id="{CD3F29E3-13A5-39BA-E62E-C0E434DACDCD}"/>
                  </a:ext>
                </a:extLst>
              </p:cNvPr>
              <p:cNvSpPr>
                <a:spLocks/>
              </p:cNvSpPr>
              <p:nvPr/>
            </p:nvSpPr>
            <p:spPr bwMode="auto">
              <a:xfrm>
                <a:off x="7654918" y="1255335"/>
                <a:ext cx="1272385" cy="1689931"/>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52" name="Freeform 26">
                <a:extLst>
                  <a:ext uri="{FF2B5EF4-FFF2-40B4-BE49-F238E27FC236}">
                    <a16:creationId xmlns:a16="http://schemas.microsoft.com/office/drawing/2014/main" id="{75296127-C7AD-410C-3C80-5AE13B3FDF04}"/>
                  </a:ext>
                </a:extLst>
              </p:cNvPr>
              <p:cNvSpPr>
                <a:spLocks noEditPoints="1"/>
              </p:cNvSpPr>
              <p:nvPr/>
            </p:nvSpPr>
            <p:spPr bwMode="auto">
              <a:xfrm>
                <a:off x="7852762" y="1090684"/>
                <a:ext cx="876695" cy="1597143"/>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accent5">
                  <a:lumMod val="60000"/>
                  <a:lumOff val="4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53" name="Rectangle 352">
                <a:extLst>
                  <a:ext uri="{FF2B5EF4-FFF2-40B4-BE49-F238E27FC236}">
                    <a16:creationId xmlns:a16="http://schemas.microsoft.com/office/drawing/2014/main" id="{52487D99-92BD-29DB-9DD7-83E0EEF6E93B}"/>
                  </a:ext>
                </a:extLst>
              </p:cNvPr>
              <p:cNvSpPr/>
              <p:nvPr/>
            </p:nvSpPr>
            <p:spPr>
              <a:xfrm>
                <a:off x="7801422" y="1577509"/>
                <a:ext cx="985838" cy="115897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354" name="Parallelogram 353">
                <a:extLst>
                  <a:ext uri="{FF2B5EF4-FFF2-40B4-BE49-F238E27FC236}">
                    <a16:creationId xmlns:a16="http://schemas.microsoft.com/office/drawing/2014/main" id="{A23E753F-EDEB-8F79-1DB0-1F83DB47A13E}"/>
                  </a:ext>
                </a:extLst>
              </p:cNvPr>
              <p:cNvSpPr/>
              <p:nvPr/>
            </p:nvSpPr>
            <p:spPr>
              <a:xfrm>
                <a:off x="7983290" y="1827987"/>
                <a:ext cx="615637" cy="615637"/>
              </a:xfrm>
              <a:prstGeom prst="parallelogram">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360" name="Group 359">
              <a:extLst>
                <a:ext uri="{FF2B5EF4-FFF2-40B4-BE49-F238E27FC236}">
                  <a16:creationId xmlns:a16="http://schemas.microsoft.com/office/drawing/2014/main" id="{4CC9E066-3095-4EAD-C8CA-B2E76F9279C5}"/>
                </a:ext>
              </a:extLst>
            </p:cNvPr>
            <p:cNvGrpSpPr/>
            <p:nvPr/>
          </p:nvGrpSpPr>
          <p:grpSpPr>
            <a:xfrm>
              <a:off x="3204516" y="5055950"/>
              <a:ext cx="181640" cy="264389"/>
              <a:chOff x="5564182" y="3839079"/>
              <a:chExt cx="1272385" cy="1854582"/>
            </a:xfrm>
          </p:grpSpPr>
          <p:sp>
            <p:nvSpPr>
              <p:cNvPr id="356" name="Freeform 25">
                <a:extLst>
                  <a:ext uri="{FF2B5EF4-FFF2-40B4-BE49-F238E27FC236}">
                    <a16:creationId xmlns:a16="http://schemas.microsoft.com/office/drawing/2014/main" id="{9CE5E6E5-E07F-120C-275F-AEB7D3A4E103}"/>
                  </a:ext>
                </a:extLst>
              </p:cNvPr>
              <p:cNvSpPr>
                <a:spLocks/>
              </p:cNvSpPr>
              <p:nvPr/>
            </p:nvSpPr>
            <p:spPr bwMode="auto">
              <a:xfrm>
                <a:off x="5564182" y="4003730"/>
                <a:ext cx="1272385" cy="1689931"/>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57" name="Freeform 26">
                <a:extLst>
                  <a:ext uri="{FF2B5EF4-FFF2-40B4-BE49-F238E27FC236}">
                    <a16:creationId xmlns:a16="http://schemas.microsoft.com/office/drawing/2014/main" id="{73BEE2B5-572E-3C00-15CB-6E568A81BAFE}"/>
                  </a:ext>
                </a:extLst>
              </p:cNvPr>
              <p:cNvSpPr>
                <a:spLocks noEditPoints="1"/>
              </p:cNvSpPr>
              <p:nvPr/>
            </p:nvSpPr>
            <p:spPr bwMode="auto">
              <a:xfrm>
                <a:off x="5762026" y="3839079"/>
                <a:ext cx="876695" cy="1597143"/>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accent6">
                  <a:lumMod val="60000"/>
                  <a:lumOff val="4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58" name="Rectangle 357">
                <a:extLst>
                  <a:ext uri="{FF2B5EF4-FFF2-40B4-BE49-F238E27FC236}">
                    <a16:creationId xmlns:a16="http://schemas.microsoft.com/office/drawing/2014/main" id="{48FB9427-7EAB-DFA6-81E9-D2216674812A}"/>
                  </a:ext>
                </a:extLst>
              </p:cNvPr>
              <p:cNvSpPr/>
              <p:nvPr/>
            </p:nvSpPr>
            <p:spPr>
              <a:xfrm>
                <a:off x="5710686" y="4325904"/>
                <a:ext cx="985838" cy="115897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359" name="Oval 358">
                <a:extLst>
                  <a:ext uri="{FF2B5EF4-FFF2-40B4-BE49-F238E27FC236}">
                    <a16:creationId xmlns:a16="http://schemas.microsoft.com/office/drawing/2014/main" id="{B91F8616-A363-F8B9-8AD9-2407C7802C5E}"/>
                  </a:ext>
                </a:extLst>
              </p:cNvPr>
              <p:cNvSpPr/>
              <p:nvPr/>
            </p:nvSpPr>
            <p:spPr>
              <a:xfrm>
                <a:off x="5892554" y="4576382"/>
                <a:ext cx="615637" cy="615637"/>
              </a:xfrm>
              <a:prstGeom prst="ellipse">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365" name="Group 364">
              <a:extLst>
                <a:ext uri="{FF2B5EF4-FFF2-40B4-BE49-F238E27FC236}">
                  <a16:creationId xmlns:a16="http://schemas.microsoft.com/office/drawing/2014/main" id="{3578F666-C401-D069-D829-50B64E2EA7D8}"/>
                </a:ext>
              </a:extLst>
            </p:cNvPr>
            <p:cNvGrpSpPr/>
            <p:nvPr/>
          </p:nvGrpSpPr>
          <p:grpSpPr>
            <a:xfrm>
              <a:off x="2180006" y="5048165"/>
              <a:ext cx="181640" cy="264389"/>
              <a:chOff x="7080743" y="1086069"/>
              <a:chExt cx="1272385" cy="1854582"/>
            </a:xfrm>
          </p:grpSpPr>
          <p:sp>
            <p:nvSpPr>
              <p:cNvPr id="361" name="Freeform 25">
                <a:extLst>
                  <a:ext uri="{FF2B5EF4-FFF2-40B4-BE49-F238E27FC236}">
                    <a16:creationId xmlns:a16="http://schemas.microsoft.com/office/drawing/2014/main" id="{FA19DC51-C63D-0115-7974-10D1B05BCCF3}"/>
                  </a:ext>
                </a:extLst>
              </p:cNvPr>
              <p:cNvSpPr>
                <a:spLocks/>
              </p:cNvSpPr>
              <p:nvPr/>
            </p:nvSpPr>
            <p:spPr bwMode="auto">
              <a:xfrm>
                <a:off x="7080743" y="1250720"/>
                <a:ext cx="1272385" cy="1689931"/>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62" name="Freeform 26">
                <a:extLst>
                  <a:ext uri="{FF2B5EF4-FFF2-40B4-BE49-F238E27FC236}">
                    <a16:creationId xmlns:a16="http://schemas.microsoft.com/office/drawing/2014/main" id="{403639B1-4A30-66F0-7DAE-2AD6CE40103D}"/>
                  </a:ext>
                </a:extLst>
              </p:cNvPr>
              <p:cNvSpPr>
                <a:spLocks noEditPoints="1"/>
              </p:cNvSpPr>
              <p:nvPr/>
            </p:nvSpPr>
            <p:spPr bwMode="auto">
              <a:xfrm>
                <a:off x="7278587" y="1086069"/>
                <a:ext cx="876695" cy="1597143"/>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rgbClr val="9D3951"/>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363" name="Rectangle 362">
                <a:extLst>
                  <a:ext uri="{FF2B5EF4-FFF2-40B4-BE49-F238E27FC236}">
                    <a16:creationId xmlns:a16="http://schemas.microsoft.com/office/drawing/2014/main" id="{BC94D8A5-7CBF-B0B8-0581-ED26F8000750}"/>
                  </a:ext>
                </a:extLst>
              </p:cNvPr>
              <p:cNvSpPr/>
              <p:nvPr/>
            </p:nvSpPr>
            <p:spPr>
              <a:xfrm>
                <a:off x="7227247" y="1572894"/>
                <a:ext cx="985838" cy="115897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364" name="Right Triangle 363">
                <a:extLst>
                  <a:ext uri="{FF2B5EF4-FFF2-40B4-BE49-F238E27FC236}">
                    <a16:creationId xmlns:a16="http://schemas.microsoft.com/office/drawing/2014/main" id="{D727ABF8-532F-B299-2B98-BA5057F3A4D6}"/>
                  </a:ext>
                </a:extLst>
              </p:cNvPr>
              <p:cNvSpPr/>
              <p:nvPr/>
            </p:nvSpPr>
            <p:spPr>
              <a:xfrm>
                <a:off x="7409115" y="1823372"/>
                <a:ext cx="615637" cy="615637"/>
              </a:xfrm>
              <a:prstGeom prst="rtTriangle">
                <a:avLst/>
              </a:prstGeom>
              <a:solidFill>
                <a:srgbClr val="9D395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417" name="Group 416">
              <a:extLst>
                <a:ext uri="{FF2B5EF4-FFF2-40B4-BE49-F238E27FC236}">
                  <a16:creationId xmlns:a16="http://schemas.microsoft.com/office/drawing/2014/main" id="{D3942A5B-3E87-2BD2-2E5B-CE43C14E039E}"/>
                </a:ext>
              </a:extLst>
            </p:cNvPr>
            <p:cNvGrpSpPr/>
            <p:nvPr/>
          </p:nvGrpSpPr>
          <p:grpSpPr>
            <a:xfrm>
              <a:off x="2654691" y="2776393"/>
              <a:ext cx="452510" cy="469652"/>
              <a:chOff x="3931715" y="2660498"/>
              <a:chExt cx="1113976" cy="1156175"/>
            </a:xfrm>
          </p:grpSpPr>
          <p:pic>
            <p:nvPicPr>
              <p:cNvPr id="408" name="Picture 407">
                <a:extLst>
                  <a:ext uri="{FF2B5EF4-FFF2-40B4-BE49-F238E27FC236}">
                    <a16:creationId xmlns:a16="http://schemas.microsoft.com/office/drawing/2014/main" id="{10A760FC-F7BF-8EF3-6E45-FD6B61AE34F7}"/>
                  </a:ext>
                </a:extLst>
              </p:cNvPr>
              <p:cNvPicPr>
                <a:picLocks noChangeAspect="1"/>
              </p:cNvPicPr>
              <p:nvPr/>
            </p:nvPicPr>
            <p:blipFill>
              <a:blip r:embed="rId7"/>
              <a:stretch>
                <a:fillRect/>
              </a:stretch>
            </p:blipFill>
            <p:spPr>
              <a:xfrm>
                <a:off x="3931715" y="2660498"/>
                <a:ext cx="1113976" cy="1114463"/>
              </a:xfrm>
              <a:prstGeom prst="rect">
                <a:avLst/>
              </a:prstGeom>
            </p:spPr>
          </p:pic>
          <p:sp>
            <p:nvSpPr>
              <p:cNvPr id="412" name="Rectangle 411">
                <a:extLst>
                  <a:ext uri="{FF2B5EF4-FFF2-40B4-BE49-F238E27FC236}">
                    <a16:creationId xmlns:a16="http://schemas.microsoft.com/office/drawing/2014/main" id="{C9E9600F-7CF9-ECBA-4413-8F79D3DDF766}"/>
                  </a:ext>
                </a:extLst>
              </p:cNvPr>
              <p:cNvSpPr/>
              <p:nvPr/>
            </p:nvSpPr>
            <p:spPr>
              <a:xfrm>
                <a:off x="4129183" y="3386053"/>
                <a:ext cx="160718" cy="124737"/>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13" name="Rectangle 412">
                <a:extLst>
                  <a:ext uri="{FF2B5EF4-FFF2-40B4-BE49-F238E27FC236}">
                    <a16:creationId xmlns:a16="http://schemas.microsoft.com/office/drawing/2014/main" id="{B2A4B94E-4741-E7E2-1A28-F519BD3C3333}"/>
                  </a:ext>
                </a:extLst>
              </p:cNvPr>
              <p:cNvSpPr/>
              <p:nvPr/>
            </p:nvSpPr>
            <p:spPr>
              <a:xfrm>
                <a:off x="4413772" y="3386052"/>
                <a:ext cx="157724" cy="119561"/>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14" name="Rectangle 413">
                <a:extLst>
                  <a:ext uri="{FF2B5EF4-FFF2-40B4-BE49-F238E27FC236}">
                    <a16:creationId xmlns:a16="http://schemas.microsoft.com/office/drawing/2014/main" id="{DC3B4CD7-9498-E845-41CD-6A5E91DD0290}"/>
                  </a:ext>
                </a:extLst>
              </p:cNvPr>
              <p:cNvSpPr/>
              <p:nvPr/>
            </p:nvSpPr>
            <p:spPr>
              <a:xfrm>
                <a:off x="4689746" y="3381930"/>
                <a:ext cx="173221" cy="14049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05" name="Rectangle: Rounded Corners 404">
                <a:extLst>
                  <a:ext uri="{FF2B5EF4-FFF2-40B4-BE49-F238E27FC236}">
                    <a16:creationId xmlns:a16="http://schemas.microsoft.com/office/drawing/2014/main" id="{4080F8E2-6110-5B33-AC0C-2587409FF8B6}"/>
                  </a:ext>
                </a:extLst>
              </p:cNvPr>
              <p:cNvSpPr/>
              <p:nvPr/>
            </p:nvSpPr>
            <p:spPr>
              <a:xfrm>
                <a:off x="3935251" y="3710911"/>
                <a:ext cx="1109936" cy="105762"/>
              </a:xfrm>
              <a:prstGeom prst="roundRect">
                <a:avLst>
                  <a:gd name="adj" fmla="val 16668"/>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443" name="Group 442">
              <a:extLst>
                <a:ext uri="{FF2B5EF4-FFF2-40B4-BE49-F238E27FC236}">
                  <a16:creationId xmlns:a16="http://schemas.microsoft.com/office/drawing/2014/main" id="{62C742CD-C8A1-4310-EA9F-85641A5F7927}"/>
                </a:ext>
              </a:extLst>
            </p:cNvPr>
            <p:cNvGrpSpPr/>
            <p:nvPr/>
          </p:nvGrpSpPr>
          <p:grpSpPr>
            <a:xfrm>
              <a:off x="4007813" y="3948822"/>
              <a:ext cx="875469" cy="506482"/>
              <a:chOff x="4122111" y="3784062"/>
              <a:chExt cx="1730086" cy="1000900"/>
            </a:xfrm>
          </p:grpSpPr>
          <p:pic>
            <p:nvPicPr>
              <p:cNvPr id="421" name="Picture 420">
                <a:extLst>
                  <a:ext uri="{FF2B5EF4-FFF2-40B4-BE49-F238E27FC236}">
                    <a16:creationId xmlns:a16="http://schemas.microsoft.com/office/drawing/2014/main" id="{3DAFC8F0-7771-E11E-1E39-45F6B478D5C3}"/>
                  </a:ext>
                </a:extLst>
              </p:cNvPr>
              <p:cNvPicPr>
                <a:picLocks noChangeAspect="1"/>
              </p:cNvPicPr>
              <p:nvPr/>
            </p:nvPicPr>
            <p:blipFill>
              <a:blip r:embed="rId8"/>
              <a:stretch>
                <a:fillRect/>
              </a:stretch>
            </p:blipFill>
            <p:spPr>
              <a:xfrm>
                <a:off x="4122111" y="3784062"/>
                <a:ext cx="1730086" cy="1000900"/>
              </a:xfrm>
              <a:prstGeom prst="rect">
                <a:avLst/>
              </a:prstGeom>
            </p:spPr>
          </p:pic>
          <p:grpSp>
            <p:nvGrpSpPr>
              <p:cNvPr id="442" name="Group 441">
                <a:extLst>
                  <a:ext uri="{FF2B5EF4-FFF2-40B4-BE49-F238E27FC236}">
                    <a16:creationId xmlns:a16="http://schemas.microsoft.com/office/drawing/2014/main" id="{53ED8BF6-E3B2-C3CF-662E-5F92678B03A3}"/>
                  </a:ext>
                </a:extLst>
              </p:cNvPr>
              <p:cNvGrpSpPr/>
              <p:nvPr/>
            </p:nvGrpSpPr>
            <p:grpSpPr>
              <a:xfrm>
                <a:off x="4380472" y="3932410"/>
                <a:ext cx="841856" cy="502070"/>
                <a:chOff x="4380472" y="3932410"/>
                <a:chExt cx="841856" cy="502070"/>
              </a:xfrm>
            </p:grpSpPr>
            <p:sp>
              <p:nvSpPr>
                <p:cNvPr id="423" name="Rectangle 422">
                  <a:extLst>
                    <a:ext uri="{FF2B5EF4-FFF2-40B4-BE49-F238E27FC236}">
                      <a16:creationId xmlns:a16="http://schemas.microsoft.com/office/drawing/2014/main" id="{2A25599F-CC14-71FE-F12F-50D6D81D6EAB}"/>
                    </a:ext>
                  </a:extLst>
                </p:cNvPr>
                <p:cNvSpPr/>
                <p:nvPr/>
              </p:nvSpPr>
              <p:spPr>
                <a:xfrm>
                  <a:off x="5109869" y="3932410"/>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24" name="Rectangle 423">
                  <a:extLst>
                    <a:ext uri="{FF2B5EF4-FFF2-40B4-BE49-F238E27FC236}">
                      <a16:creationId xmlns:a16="http://schemas.microsoft.com/office/drawing/2014/main" id="{83DD7B84-B006-D91F-919F-104562828C8E}"/>
                    </a:ext>
                  </a:extLst>
                </p:cNvPr>
                <p:cNvSpPr/>
                <p:nvPr/>
              </p:nvSpPr>
              <p:spPr>
                <a:xfrm>
                  <a:off x="4913218" y="3932410"/>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25" name="Rectangle 424">
                  <a:extLst>
                    <a:ext uri="{FF2B5EF4-FFF2-40B4-BE49-F238E27FC236}">
                      <a16:creationId xmlns:a16="http://schemas.microsoft.com/office/drawing/2014/main" id="{632C5A8C-CE9F-F473-EB42-0FF5BCA3FDE1}"/>
                    </a:ext>
                  </a:extLst>
                </p:cNvPr>
                <p:cNvSpPr/>
                <p:nvPr/>
              </p:nvSpPr>
              <p:spPr>
                <a:xfrm>
                  <a:off x="5109869" y="4141141"/>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26" name="Rectangle 425">
                  <a:extLst>
                    <a:ext uri="{FF2B5EF4-FFF2-40B4-BE49-F238E27FC236}">
                      <a16:creationId xmlns:a16="http://schemas.microsoft.com/office/drawing/2014/main" id="{1B9746E2-8F6E-DD08-AC91-4DF697E6E825}"/>
                    </a:ext>
                  </a:extLst>
                </p:cNvPr>
                <p:cNvSpPr/>
                <p:nvPr/>
              </p:nvSpPr>
              <p:spPr>
                <a:xfrm>
                  <a:off x="4906742" y="4141141"/>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27" name="Rectangle 426">
                  <a:extLst>
                    <a:ext uri="{FF2B5EF4-FFF2-40B4-BE49-F238E27FC236}">
                      <a16:creationId xmlns:a16="http://schemas.microsoft.com/office/drawing/2014/main" id="{05109C75-BF28-0D6A-4098-BEC72F707A50}"/>
                    </a:ext>
                  </a:extLst>
                </p:cNvPr>
                <p:cNvSpPr/>
                <p:nvPr/>
              </p:nvSpPr>
              <p:spPr>
                <a:xfrm>
                  <a:off x="4708864" y="4141141"/>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28" name="Oval 427">
                  <a:extLst>
                    <a:ext uri="{FF2B5EF4-FFF2-40B4-BE49-F238E27FC236}">
                      <a16:creationId xmlns:a16="http://schemas.microsoft.com/office/drawing/2014/main" id="{D654D1F4-9593-49F0-AEF4-179095A85544}"/>
                    </a:ext>
                  </a:extLst>
                </p:cNvPr>
                <p:cNvSpPr/>
                <p:nvPr/>
              </p:nvSpPr>
              <p:spPr>
                <a:xfrm>
                  <a:off x="4380472"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31" name="Oval 430">
                  <a:extLst>
                    <a:ext uri="{FF2B5EF4-FFF2-40B4-BE49-F238E27FC236}">
                      <a16:creationId xmlns:a16="http://schemas.microsoft.com/office/drawing/2014/main" id="{870E1102-09C5-501E-BF69-7037FB4629C7}"/>
                    </a:ext>
                  </a:extLst>
                </p:cNvPr>
                <p:cNvSpPr/>
                <p:nvPr/>
              </p:nvSpPr>
              <p:spPr>
                <a:xfrm>
                  <a:off x="4488009"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32" name="Oval 431">
                  <a:extLst>
                    <a:ext uri="{FF2B5EF4-FFF2-40B4-BE49-F238E27FC236}">
                      <a16:creationId xmlns:a16="http://schemas.microsoft.com/office/drawing/2014/main" id="{9C9D474E-5AC1-B7F5-3CA9-35FAEB106E04}"/>
                    </a:ext>
                  </a:extLst>
                </p:cNvPr>
                <p:cNvSpPr/>
                <p:nvPr/>
              </p:nvSpPr>
              <p:spPr>
                <a:xfrm>
                  <a:off x="4595546"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33" name="Oval 432">
                  <a:extLst>
                    <a:ext uri="{FF2B5EF4-FFF2-40B4-BE49-F238E27FC236}">
                      <a16:creationId xmlns:a16="http://schemas.microsoft.com/office/drawing/2014/main" id="{D9AFB875-5F1B-AFC4-B818-8D45D1C9A449}"/>
                    </a:ext>
                  </a:extLst>
                </p:cNvPr>
                <p:cNvSpPr/>
                <p:nvPr/>
              </p:nvSpPr>
              <p:spPr>
                <a:xfrm>
                  <a:off x="4703084"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37" name="Rectangle 436">
                  <a:extLst>
                    <a:ext uri="{FF2B5EF4-FFF2-40B4-BE49-F238E27FC236}">
                      <a16:creationId xmlns:a16="http://schemas.microsoft.com/office/drawing/2014/main" id="{0248E57D-66F1-2719-0FD9-FA7959607DE9}"/>
                    </a:ext>
                  </a:extLst>
                </p:cNvPr>
                <p:cNvSpPr/>
                <p:nvPr/>
              </p:nvSpPr>
              <p:spPr>
                <a:xfrm>
                  <a:off x="4708642" y="3932410"/>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38" name="Rectangle 437">
                  <a:extLst>
                    <a:ext uri="{FF2B5EF4-FFF2-40B4-BE49-F238E27FC236}">
                      <a16:creationId xmlns:a16="http://schemas.microsoft.com/office/drawing/2014/main" id="{FB0F21BE-019D-C950-5436-9F74462376B9}"/>
                    </a:ext>
                  </a:extLst>
                </p:cNvPr>
                <p:cNvSpPr/>
                <p:nvPr/>
              </p:nvSpPr>
              <p:spPr>
                <a:xfrm>
                  <a:off x="4510282" y="4227729"/>
                  <a:ext cx="45719" cy="4571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39" name="Rectangle 438">
                  <a:extLst>
                    <a:ext uri="{FF2B5EF4-FFF2-40B4-BE49-F238E27FC236}">
                      <a16:creationId xmlns:a16="http://schemas.microsoft.com/office/drawing/2014/main" id="{E8EED8A9-B941-DC0B-E95E-979116E1694C}"/>
                    </a:ext>
                  </a:extLst>
                </p:cNvPr>
                <p:cNvSpPr/>
                <p:nvPr/>
              </p:nvSpPr>
              <p:spPr>
                <a:xfrm>
                  <a:off x="4400002" y="4227729"/>
                  <a:ext cx="45719" cy="4571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grpSp>
          <p:nvGrpSpPr>
            <p:cNvPr id="456" name="Group 455">
              <a:extLst>
                <a:ext uri="{FF2B5EF4-FFF2-40B4-BE49-F238E27FC236}">
                  <a16:creationId xmlns:a16="http://schemas.microsoft.com/office/drawing/2014/main" id="{DEDB6721-F240-A241-9047-6B84B0837C61}"/>
                </a:ext>
              </a:extLst>
            </p:cNvPr>
            <p:cNvGrpSpPr/>
            <p:nvPr/>
          </p:nvGrpSpPr>
          <p:grpSpPr>
            <a:xfrm>
              <a:off x="3653502" y="5489934"/>
              <a:ext cx="673518" cy="453176"/>
              <a:chOff x="3906736" y="5182543"/>
              <a:chExt cx="2484125" cy="1671443"/>
            </a:xfrm>
          </p:grpSpPr>
          <p:pic>
            <p:nvPicPr>
              <p:cNvPr id="447" name="Picture 446">
                <a:extLst>
                  <a:ext uri="{FF2B5EF4-FFF2-40B4-BE49-F238E27FC236}">
                    <a16:creationId xmlns:a16="http://schemas.microsoft.com/office/drawing/2014/main" id="{8CA9F001-5B72-6CA2-AE6B-921357BCDF68}"/>
                  </a:ext>
                </a:extLst>
              </p:cNvPr>
              <p:cNvPicPr>
                <a:picLocks noChangeAspect="1"/>
              </p:cNvPicPr>
              <p:nvPr/>
            </p:nvPicPr>
            <p:blipFill>
              <a:blip r:embed="rId9"/>
              <a:stretch>
                <a:fillRect/>
              </a:stretch>
            </p:blipFill>
            <p:spPr>
              <a:xfrm>
                <a:off x="3906736" y="5182543"/>
                <a:ext cx="2484125" cy="1671443"/>
              </a:xfrm>
              <a:prstGeom prst="rect">
                <a:avLst/>
              </a:prstGeom>
            </p:spPr>
          </p:pic>
          <p:sp>
            <p:nvSpPr>
              <p:cNvPr id="448" name="Rectangle 447">
                <a:extLst>
                  <a:ext uri="{FF2B5EF4-FFF2-40B4-BE49-F238E27FC236}">
                    <a16:creationId xmlns:a16="http://schemas.microsoft.com/office/drawing/2014/main" id="{8F189C39-ED14-2935-2D13-3F40C3D59DC1}"/>
                  </a:ext>
                </a:extLst>
              </p:cNvPr>
              <p:cNvSpPr/>
              <p:nvPr/>
            </p:nvSpPr>
            <p:spPr>
              <a:xfrm>
                <a:off x="4616391" y="5302645"/>
                <a:ext cx="150508" cy="150508"/>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49" name="Rectangle 448">
                <a:extLst>
                  <a:ext uri="{FF2B5EF4-FFF2-40B4-BE49-F238E27FC236}">
                    <a16:creationId xmlns:a16="http://schemas.microsoft.com/office/drawing/2014/main" id="{36427EB7-D1CC-9125-1DCB-1B533F5453B2}"/>
                  </a:ext>
                </a:extLst>
              </p:cNvPr>
              <p:cNvSpPr/>
              <p:nvPr/>
            </p:nvSpPr>
            <p:spPr>
              <a:xfrm>
                <a:off x="5584214" y="5515316"/>
                <a:ext cx="150508" cy="150508"/>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50" name="Oval 449">
                <a:extLst>
                  <a:ext uri="{FF2B5EF4-FFF2-40B4-BE49-F238E27FC236}">
                    <a16:creationId xmlns:a16="http://schemas.microsoft.com/office/drawing/2014/main" id="{444BB6BD-7633-1506-5A9B-36704AA0C04F}"/>
                  </a:ext>
                </a:extLst>
              </p:cNvPr>
              <p:cNvSpPr/>
              <p:nvPr/>
            </p:nvSpPr>
            <p:spPr>
              <a:xfrm>
                <a:off x="4205933" y="6360377"/>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51" name="Oval 450">
                <a:extLst>
                  <a:ext uri="{FF2B5EF4-FFF2-40B4-BE49-F238E27FC236}">
                    <a16:creationId xmlns:a16="http://schemas.microsoft.com/office/drawing/2014/main" id="{25558B42-DD17-0313-AD51-A594CEE3F1A4}"/>
                  </a:ext>
                </a:extLst>
              </p:cNvPr>
              <p:cNvSpPr/>
              <p:nvPr/>
            </p:nvSpPr>
            <p:spPr>
              <a:xfrm>
                <a:off x="4609104"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52" name="Oval 451">
                <a:extLst>
                  <a:ext uri="{FF2B5EF4-FFF2-40B4-BE49-F238E27FC236}">
                    <a16:creationId xmlns:a16="http://schemas.microsoft.com/office/drawing/2014/main" id="{95126F3D-1C86-3277-5D64-EE123ACB27E9}"/>
                  </a:ext>
                </a:extLst>
              </p:cNvPr>
              <p:cNvSpPr/>
              <p:nvPr/>
            </p:nvSpPr>
            <p:spPr>
              <a:xfrm>
                <a:off x="5034498"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53" name="Oval 452">
                <a:extLst>
                  <a:ext uri="{FF2B5EF4-FFF2-40B4-BE49-F238E27FC236}">
                    <a16:creationId xmlns:a16="http://schemas.microsoft.com/office/drawing/2014/main" id="{CF7326A8-B41B-C0B0-A5FD-5417E728B9B9}"/>
                  </a:ext>
                </a:extLst>
              </p:cNvPr>
              <p:cNvSpPr/>
              <p:nvPr/>
            </p:nvSpPr>
            <p:spPr>
              <a:xfrm>
                <a:off x="5459892"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454" name="Oval 453">
                <a:extLst>
                  <a:ext uri="{FF2B5EF4-FFF2-40B4-BE49-F238E27FC236}">
                    <a16:creationId xmlns:a16="http://schemas.microsoft.com/office/drawing/2014/main" id="{8292A4F6-0CC1-7E78-C1BD-52993608C52A}"/>
                  </a:ext>
                </a:extLst>
              </p:cNvPr>
              <p:cNvSpPr/>
              <p:nvPr/>
            </p:nvSpPr>
            <p:spPr>
              <a:xfrm>
                <a:off x="5870272"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528" name="Group 527">
              <a:extLst>
                <a:ext uri="{FF2B5EF4-FFF2-40B4-BE49-F238E27FC236}">
                  <a16:creationId xmlns:a16="http://schemas.microsoft.com/office/drawing/2014/main" id="{1485DA52-2731-E377-94C9-8AB6AD2B0F72}"/>
                </a:ext>
              </a:extLst>
            </p:cNvPr>
            <p:cNvGrpSpPr/>
            <p:nvPr/>
          </p:nvGrpSpPr>
          <p:grpSpPr>
            <a:xfrm>
              <a:off x="1062910" y="4030566"/>
              <a:ext cx="551980" cy="494780"/>
              <a:chOff x="590853" y="3563494"/>
              <a:chExt cx="973617" cy="872722"/>
            </a:xfrm>
          </p:grpSpPr>
          <p:sp>
            <p:nvSpPr>
              <p:cNvPr id="296" name="Freeform 76">
                <a:extLst>
                  <a:ext uri="{FF2B5EF4-FFF2-40B4-BE49-F238E27FC236}">
                    <a16:creationId xmlns:a16="http://schemas.microsoft.com/office/drawing/2014/main" id="{0905EC62-4E24-4155-5476-DA285EED3E12}"/>
                  </a:ext>
                </a:extLst>
              </p:cNvPr>
              <p:cNvSpPr>
                <a:spLocks noEditPoints="1"/>
              </p:cNvSpPr>
              <p:nvPr/>
            </p:nvSpPr>
            <p:spPr bwMode="auto">
              <a:xfrm>
                <a:off x="672424" y="3563494"/>
                <a:ext cx="808989" cy="377685"/>
              </a:xfrm>
              <a:custGeom>
                <a:avLst/>
                <a:gdLst>
                  <a:gd name="T0" fmla="*/ 694 w 694"/>
                  <a:gd name="T1" fmla="*/ 324 h 324"/>
                  <a:gd name="T2" fmla="*/ 0 w 694"/>
                  <a:gd name="T3" fmla="*/ 324 h 324"/>
                  <a:gd name="T4" fmla="*/ 0 w 694"/>
                  <a:gd name="T5" fmla="*/ 202 h 324"/>
                  <a:gd name="T6" fmla="*/ 346 w 694"/>
                  <a:gd name="T7" fmla="*/ 0 h 324"/>
                  <a:gd name="T8" fmla="*/ 694 w 694"/>
                  <a:gd name="T9" fmla="*/ 202 h 324"/>
                  <a:gd name="T10" fmla="*/ 694 w 694"/>
                  <a:gd name="T11" fmla="*/ 324 h 324"/>
                  <a:gd name="T12" fmla="*/ 18 w 694"/>
                  <a:gd name="T13" fmla="*/ 306 h 324"/>
                  <a:gd name="T14" fmla="*/ 676 w 694"/>
                  <a:gd name="T15" fmla="*/ 306 h 324"/>
                  <a:gd name="T16" fmla="*/ 676 w 694"/>
                  <a:gd name="T17" fmla="*/ 212 h 324"/>
                  <a:gd name="T18" fmla="*/ 346 w 694"/>
                  <a:gd name="T19" fmla="*/ 20 h 324"/>
                  <a:gd name="T20" fmla="*/ 18 w 694"/>
                  <a:gd name="T21" fmla="*/ 212 h 324"/>
                  <a:gd name="T22" fmla="*/ 18 w 694"/>
                  <a:gd name="T23" fmla="*/ 30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4" h="324">
                    <a:moveTo>
                      <a:pt x="694" y="324"/>
                    </a:moveTo>
                    <a:lnTo>
                      <a:pt x="0" y="324"/>
                    </a:lnTo>
                    <a:lnTo>
                      <a:pt x="0" y="202"/>
                    </a:lnTo>
                    <a:lnTo>
                      <a:pt x="346" y="0"/>
                    </a:lnTo>
                    <a:lnTo>
                      <a:pt x="694" y="202"/>
                    </a:lnTo>
                    <a:lnTo>
                      <a:pt x="694" y="324"/>
                    </a:lnTo>
                    <a:close/>
                    <a:moveTo>
                      <a:pt x="18" y="306"/>
                    </a:moveTo>
                    <a:lnTo>
                      <a:pt x="676" y="306"/>
                    </a:lnTo>
                    <a:lnTo>
                      <a:pt x="676" y="212"/>
                    </a:lnTo>
                    <a:lnTo>
                      <a:pt x="346" y="20"/>
                    </a:lnTo>
                    <a:lnTo>
                      <a:pt x="18" y="212"/>
                    </a:lnTo>
                    <a:lnTo>
                      <a:pt x="18" y="30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297" name="Freeform 77">
                <a:extLst>
                  <a:ext uri="{FF2B5EF4-FFF2-40B4-BE49-F238E27FC236}">
                    <a16:creationId xmlns:a16="http://schemas.microsoft.com/office/drawing/2014/main" id="{E6223A83-17C6-B85B-FF20-0832DB1EA770}"/>
                  </a:ext>
                </a:extLst>
              </p:cNvPr>
              <p:cNvSpPr>
                <a:spLocks noEditPoints="1"/>
              </p:cNvSpPr>
              <p:nvPr/>
            </p:nvSpPr>
            <p:spPr bwMode="auto">
              <a:xfrm>
                <a:off x="723715" y="4276898"/>
                <a:ext cx="191174" cy="72274"/>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298" name="Freeform 78">
                <a:extLst>
                  <a:ext uri="{FF2B5EF4-FFF2-40B4-BE49-F238E27FC236}">
                    <a16:creationId xmlns:a16="http://schemas.microsoft.com/office/drawing/2014/main" id="{AF2F789C-F191-C1B2-C0D9-6E7A219CA098}"/>
                  </a:ext>
                </a:extLst>
              </p:cNvPr>
              <p:cNvSpPr>
                <a:spLocks noEditPoints="1"/>
              </p:cNvSpPr>
              <p:nvPr/>
            </p:nvSpPr>
            <p:spPr bwMode="auto">
              <a:xfrm>
                <a:off x="1236620" y="4276898"/>
                <a:ext cx="191174" cy="72274"/>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299" name="Freeform 79">
                <a:extLst>
                  <a:ext uri="{FF2B5EF4-FFF2-40B4-BE49-F238E27FC236}">
                    <a16:creationId xmlns:a16="http://schemas.microsoft.com/office/drawing/2014/main" id="{849C8E02-741D-BDEC-B0BD-8785DAC28C7A}"/>
                  </a:ext>
                </a:extLst>
              </p:cNvPr>
              <p:cNvSpPr>
                <a:spLocks noEditPoints="1"/>
              </p:cNvSpPr>
              <p:nvPr/>
            </p:nvSpPr>
            <p:spPr bwMode="auto">
              <a:xfrm>
                <a:off x="723715" y="3920196"/>
                <a:ext cx="191174" cy="74605"/>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0" name="Freeform 80">
                <a:extLst>
                  <a:ext uri="{FF2B5EF4-FFF2-40B4-BE49-F238E27FC236}">
                    <a16:creationId xmlns:a16="http://schemas.microsoft.com/office/drawing/2014/main" id="{9F5BAE4C-ECF6-01FA-0D59-6F13EB4BC1C1}"/>
                  </a:ext>
                </a:extLst>
              </p:cNvPr>
              <p:cNvSpPr>
                <a:spLocks noEditPoints="1"/>
              </p:cNvSpPr>
              <p:nvPr/>
            </p:nvSpPr>
            <p:spPr bwMode="auto">
              <a:xfrm>
                <a:off x="1236620" y="3920196"/>
                <a:ext cx="191174" cy="74605"/>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1" name="Freeform 81">
                <a:extLst>
                  <a:ext uri="{FF2B5EF4-FFF2-40B4-BE49-F238E27FC236}">
                    <a16:creationId xmlns:a16="http://schemas.microsoft.com/office/drawing/2014/main" id="{30BD8BF0-94B9-DAE5-0423-61356F628945}"/>
                  </a:ext>
                </a:extLst>
              </p:cNvPr>
              <p:cNvSpPr>
                <a:spLocks noEditPoints="1"/>
              </p:cNvSpPr>
              <p:nvPr/>
            </p:nvSpPr>
            <p:spPr bwMode="auto">
              <a:xfrm>
                <a:off x="754022" y="3973818"/>
                <a:ext cx="132888" cy="324063"/>
              </a:xfrm>
              <a:custGeom>
                <a:avLst/>
                <a:gdLst>
                  <a:gd name="T0" fmla="*/ 114 w 114"/>
                  <a:gd name="T1" fmla="*/ 278 h 278"/>
                  <a:gd name="T2" fmla="*/ 0 w 114"/>
                  <a:gd name="T3" fmla="*/ 278 h 278"/>
                  <a:gd name="T4" fmla="*/ 0 w 114"/>
                  <a:gd name="T5" fmla="*/ 0 h 278"/>
                  <a:gd name="T6" fmla="*/ 114 w 114"/>
                  <a:gd name="T7" fmla="*/ 0 h 278"/>
                  <a:gd name="T8" fmla="*/ 114 w 114"/>
                  <a:gd name="T9" fmla="*/ 278 h 278"/>
                  <a:gd name="T10" fmla="*/ 18 w 114"/>
                  <a:gd name="T11" fmla="*/ 260 h 278"/>
                  <a:gd name="T12" fmla="*/ 96 w 114"/>
                  <a:gd name="T13" fmla="*/ 260 h 278"/>
                  <a:gd name="T14" fmla="*/ 96 w 114"/>
                  <a:gd name="T15" fmla="*/ 18 h 278"/>
                  <a:gd name="T16" fmla="*/ 18 w 114"/>
                  <a:gd name="T17" fmla="*/ 18 h 278"/>
                  <a:gd name="T18" fmla="*/ 18 w 114"/>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78">
                    <a:moveTo>
                      <a:pt x="114" y="278"/>
                    </a:moveTo>
                    <a:lnTo>
                      <a:pt x="0" y="278"/>
                    </a:lnTo>
                    <a:lnTo>
                      <a:pt x="0" y="0"/>
                    </a:lnTo>
                    <a:lnTo>
                      <a:pt x="114" y="0"/>
                    </a:lnTo>
                    <a:lnTo>
                      <a:pt x="114" y="278"/>
                    </a:lnTo>
                    <a:close/>
                    <a:moveTo>
                      <a:pt x="18" y="260"/>
                    </a:moveTo>
                    <a:lnTo>
                      <a:pt x="96" y="260"/>
                    </a:lnTo>
                    <a:lnTo>
                      <a:pt x="96" y="18"/>
                    </a:lnTo>
                    <a:lnTo>
                      <a:pt x="18" y="18"/>
                    </a:lnTo>
                    <a:lnTo>
                      <a:pt x="18" y="2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2" name="Freeform 82">
                <a:extLst>
                  <a:ext uri="{FF2B5EF4-FFF2-40B4-BE49-F238E27FC236}">
                    <a16:creationId xmlns:a16="http://schemas.microsoft.com/office/drawing/2014/main" id="{E0B66C0A-BDEE-798A-8BA1-52156954E9D5}"/>
                  </a:ext>
                </a:extLst>
              </p:cNvPr>
              <p:cNvSpPr>
                <a:spLocks noEditPoints="1"/>
              </p:cNvSpPr>
              <p:nvPr/>
            </p:nvSpPr>
            <p:spPr bwMode="auto">
              <a:xfrm>
                <a:off x="1266927" y="3973818"/>
                <a:ext cx="130556" cy="324063"/>
              </a:xfrm>
              <a:custGeom>
                <a:avLst/>
                <a:gdLst>
                  <a:gd name="T0" fmla="*/ 112 w 112"/>
                  <a:gd name="T1" fmla="*/ 278 h 278"/>
                  <a:gd name="T2" fmla="*/ 0 w 112"/>
                  <a:gd name="T3" fmla="*/ 278 h 278"/>
                  <a:gd name="T4" fmla="*/ 0 w 112"/>
                  <a:gd name="T5" fmla="*/ 0 h 278"/>
                  <a:gd name="T6" fmla="*/ 112 w 112"/>
                  <a:gd name="T7" fmla="*/ 0 h 278"/>
                  <a:gd name="T8" fmla="*/ 112 w 112"/>
                  <a:gd name="T9" fmla="*/ 278 h 278"/>
                  <a:gd name="T10" fmla="*/ 18 w 112"/>
                  <a:gd name="T11" fmla="*/ 260 h 278"/>
                  <a:gd name="T12" fmla="*/ 94 w 112"/>
                  <a:gd name="T13" fmla="*/ 260 h 278"/>
                  <a:gd name="T14" fmla="*/ 94 w 112"/>
                  <a:gd name="T15" fmla="*/ 18 h 278"/>
                  <a:gd name="T16" fmla="*/ 18 w 112"/>
                  <a:gd name="T17" fmla="*/ 18 h 278"/>
                  <a:gd name="T18" fmla="*/ 18 w 112"/>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278">
                    <a:moveTo>
                      <a:pt x="112" y="278"/>
                    </a:moveTo>
                    <a:lnTo>
                      <a:pt x="0" y="278"/>
                    </a:lnTo>
                    <a:lnTo>
                      <a:pt x="0" y="0"/>
                    </a:lnTo>
                    <a:lnTo>
                      <a:pt x="112" y="0"/>
                    </a:lnTo>
                    <a:lnTo>
                      <a:pt x="112" y="278"/>
                    </a:lnTo>
                    <a:close/>
                    <a:moveTo>
                      <a:pt x="18" y="260"/>
                    </a:moveTo>
                    <a:lnTo>
                      <a:pt x="94" y="260"/>
                    </a:lnTo>
                    <a:lnTo>
                      <a:pt x="94" y="18"/>
                    </a:lnTo>
                    <a:lnTo>
                      <a:pt x="18" y="18"/>
                    </a:lnTo>
                    <a:lnTo>
                      <a:pt x="18" y="2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5" name="Freeform 85">
                <a:extLst>
                  <a:ext uri="{FF2B5EF4-FFF2-40B4-BE49-F238E27FC236}">
                    <a16:creationId xmlns:a16="http://schemas.microsoft.com/office/drawing/2014/main" id="{82A3680D-6BED-1126-9D73-1353D90BD7CC}"/>
                  </a:ext>
                </a:extLst>
              </p:cNvPr>
              <p:cNvSpPr>
                <a:spLocks noEditPoints="1"/>
              </p:cNvSpPr>
              <p:nvPr/>
            </p:nvSpPr>
            <p:spPr bwMode="auto">
              <a:xfrm>
                <a:off x="980166" y="4276898"/>
                <a:ext cx="191174" cy="72274"/>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6" name="Freeform 86">
                <a:extLst>
                  <a:ext uri="{FF2B5EF4-FFF2-40B4-BE49-F238E27FC236}">
                    <a16:creationId xmlns:a16="http://schemas.microsoft.com/office/drawing/2014/main" id="{DDCCA556-A9EC-1848-6902-0DECD89C6DD5}"/>
                  </a:ext>
                </a:extLst>
              </p:cNvPr>
              <p:cNvSpPr>
                <a:spLocks noEditPoints="1"/>
              </p:cNvSpPr>
              <p:nvPr/>
            </p:nvSpPr>
            <p:spPr bwMode="auto">
              <a:xfrm>
                <a:off x="980166" y="3920196"/>
                <a:ext cx="191174" cy="74605"/>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7" name="Freeform 87">
                <a:extLst>
                  <a:ext uri="{FF2B5EF4-FFF2-40B4-BE49-F238E27FC236}">
                    <a16:creationId xmlns:a16="http://schemas.microsoft.com/office/drawing/2014/main" id="{250B004C-2B4B-C067-75C4-F3BD08A7BBDA}"/>
                  </a:ext>
                </a:extLst>
              </p:cNvPr>
              <p:cNvSpPr>
                <a:spLocks noEditPoints="1"/>
              </p:cNvSpPr>
              <p:nvPr/>
            </p:nvSpPr>
            <p:spPr bwMode="auto">
              <a:xfrm>
                <a:off x="1010473" y="3973818"/>
                <a:ext cx="132888" cy="324063"/>
              </a:xfrm>
              <a:custGeom>
                <a:avLst/>
                <a:gdLst>
                  <a:gd name="T0" fmla="*/ 114 w 114"/>
                  <a:gd name="T1" fmla="*/ 278 h 278"/>
                  <a:gd name="T2" fmla="*/ 0 w 114"/>
                  <a:gd name="T3" fmla="*/ 278 h 278"/>
                  <a:gd name="T4" fmla="*/ 0 w 114"/>
                  <a:gd name="T5" fmla="*/ 0 h 278"/>
                  <a:gd name="T6" fmla="*/ 114 w 114"/>
                  <a:gd name="T7" fmla="*/ 0 h 278"/>
                  <a:gd name="T8" fmla="*/ 114 w 114"/>
                  <a:gd name="T9" fmla="*/ 278 h 278"/>
                  <a:gd name="T10" fmla="*/ 18 w 114"/>
                  <a:gd name="T11" fmla="*/ 260 h 278"/>
                  <a:gd name="T12" fmla="*/ 96 w 114"/>
                  <a:gd name="T13" fmla="*/ 260 h 278"/>
                  <a:gd name="T14" fmla="*/ 96 w 114"/>
                  <a:gd name="T15" fmla="*/ 18 h 278"/>
                  <a:gd name="T16" fmla="*/ 18 w 114"/>
                  <a:gd name="T17" fmla="*/ 18 h 278"/>
                  <a:gd name="T18" fmla="*/ 18 w 114"/>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78">
                    <a:moveTo>
                      <a:pt x="114" y="278"/>
                    </a:moveTo>
                    <a:lnTo>
                      <a:pt x="0" y="278"/>
                    </a:lnTo>
                    <a:lnTo>
                      <a:pt x="0" y="0"/>
                    </a:lnTo>
                    <a:lnTo>
                      <a:pt x="114" y="0"/>
                    </a:lnTo>
                    <a:lnTo>
                      <a:pt x="114" y="278"/>
                    </a:lnTo>
                    <a:close/>
                    <a:moveTo>
                      <a:pt x="18" y="260"/>
                    </a:moveTo>
                    <a:lnTo>
                      <a:pt x="96" y="260"/>
                    </a:lnTo>
                    <a:lnTo>
                      <a:pt x="96" y="18"/>
                    </a:lnTo>
                    <a:lnTo>
                      <a:pt x="18" y="18"/>
                    </a:lnTo>
                    <a:lnTo>
                      <a:pt x="18" y="2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09" name="Rectangle 89">
                <a:extLst>
                  <a:ext uri="{FF2B5EF4-FFF2-40B4-BE49-F238E27FC236}">
                    <a16:creationId xmlns:a16="http://schemas.microsoft.com/office/drawing/2014/main" id="{396CFBAD-6D01-C144-3F67-0864323AF383}"/>
                  </a:ext>
                </a:extLst>
              </p:cNvPr>
              <p:cNvSpPr>
                <a:spLocks noChangeArrowheads="1"/>
              </p:cNvSpPr>
              <p:nvPr/>
            </p:nvSpPr>
            <p:spPr bwMode="auto">
              <a:xfrm>
                <a:off x="615859" y="4328189"/>
                <a:ext cx="913902" cy="4580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10" name="Rectangle 90">
                <a:extLst>
                  <a:ext uri="{FF2B5EF4-FFF2-40B4-BE49-F238E27FC236}">
                    <a16:creationId xmlns:a16="http://schemas.microsoft.com/office/drawing/2014/main" id="{E7988CEC-2D9F-4E16-D955-9FD8E9DB417C}"/>
                  </a:ext>
                </a:extLst>
              </p:cNvPr>
              <p:cNvSpPr>
                <a:spLocks noChangeArrowheads="1"/>
              </p:cNvSpPr>
              <p:nvPr/>
            </p:nvSpPr>
            <p:spPr bwMode="auto">
              <a:xfrm>
                <a:off x="1213306" y="3782645"/>
                <a:ext cx="121232" cy="2098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11" name="Rectangle 91">
                <a:extLst>
                  <a:ext uri="{FF2B5EF4-FFF2-40B4-BE49-F238E27FC236}">
                    <a16:creationId xmlns:a16="http://schemas.microsoft.com/office/drawing/2014/main" id="{57AD1298-0B07-ABC6-2524-71A66BBDB7F5}"/>
                  </a:ext>
                </a:extLst>
              </p:cNvPr>
              <p:cNvSpPr>
                <a:spLocks noChangeArrowheads="1"/>
              </p:cNvSpPr>
              <p:nvPr/>
            </p:nvSpPr>
            <p:spPr bwMode="auto">
              <a:xfrm>
                <a:off x="819301" y="3782645"/>
                <a:ext cx="118900" cy="2098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312" name="Freeform 92">
                <a:extLst>
                  <a:ext uri="{FF2B5EF4-FFF2-40B4-BE49-F238E27FC236}">
                    <a16:creationId xmlns:a16="http://schemas.microsoft.com/office/drawing/2014/main" id="{FF70223D-3570-3B06-F478-A4C5BDB49389}"/>
                  </a:ext>
                </a:extLst>
              </p:cNvPr>
              <p:cNvSpPr>
                <a:spLocks noEditPoints="1"/>
              </p:cNvSpPr>
              <p:nvPr/>
            </p:nvSpPr>
            <p:spPr bwMode="auto">
              <a:xfrm>
                <a:off x="989492" y="3705709"/>
                <a:ext cx="172522" cy="174854"/>
              </a:xfrm>
              <a:custGeom>
                <a:avLst/>
                <a:gdLst>
                  <a:gd name="T0" fmla="*/ 74 w 148"/>
                  <a:gd name="T1" fmla="*/ 150 h 150"/>
                  <a:gd name="T2" fmla="*/ 46 w 148"/>
                  <a:gd name="T3" fmla="*/ 144 h 150"/>
                  <a:gd name="T4" fmla="*/ 22 w 148"/>
                  <a:gd name="T5" fmla="*/ 128 h 150"/>
                  <a:gd name="T6" fmla="*/ 6 w 148"/>
                  <a:gd name="T7" fmla="*/ 104 h 150"/>
                  <a:gd name="T8" fmla="*/ 0 w 148"/>
                  <a:gd name="T9" fmla="*/ 76 h 150"/>
                  <a:gd name="T10" fmla="*/ 2 w 148"/>
                  <a:gd name="T11" fmla="*/ 60 h 150"/>
                  <a:gd name="T12" fmla="*/ 12 w 148"/>
                  <a:gd name="T13" fmla="*/ 34 h 150"/>
                  <a:gd name="T14" fmla="*/ 32 w 148"/>
                  <a:gd name="T15" fmla="*/ 14 h 150"/>
                  <a:gd name="T16" fmla="*/ 60 w 148"/>
                  <a:gd name="T17" fmla="*/ 2 h 150"/>
                  <a:gd name="T18" fmla="*/ 74 w 148"/>
                  <a:gd name="T19" fmla="*/ 0 h 150"/>
                  <a:gd name="T20" fmla="*/ 104 w 148"/>
                  <a:gd name="T21" fmla="*/ 6 h 150"/>
                  <a:gd name="T22" fmla="*/ 128 w 148"/>
                  <a:gd name="T23" fmla="*/ 22 h 150"/>
                  <a:gd name="T24" fmla="*/ 144 w 148"/>
                  <a:gd name="T25" fmla="*/ 46 h 150"/>
                  <a:gd name="T26" fmla="*/ 148 w 148"/>
                  <a:gd name="T27" fmla="*/ 76 h 150"/>
                  <a:gd name="T28" fmla="*/ 148 w 148"/>
                  <a:gd name="T29" fmla="*/ 90 h 150"/>
                  <a:gd name="T30" fmla="*/ 136 w 148"/>
                  <a:gd name="T31" fmla="*/ 116 h 150"/>
                  <a:gd name="T32" fmla="*/ 116 w 148"/>
                  <a:gd name="T33" fmla="*/ 136 h 150"/>
                  <a:gd name="T34" fmla="*/ 90 w 148"/>
                  <a:gd name="T35" fmla="*/ 148 h 150"/>
                  <a:gd name="T36" fmla="*/ 74 w 148"/>
                  <a:gd name="T37" fmla="*/ 150 h 150"/>
                  <a:gd name="T38" fmla="*/ 74 w 148"/>
                  <a:gd name="T39" fmla="*/ 18 h 150"/>
                  <a:gd name="T40" fmla="*/ 52 w 148"/>
                  <a:gd name="T41" fmla="*/ 24 h 150"/>
                  <a:gd name="T42" fmla="*/ 34 w 148"/>
                  <a:gd name="T43" fmla="*/ 36 h 150"/>
                  <a:gd name="T44" fmla="*/ 22 w 148"/>
                  <a:gd name="T45" fmla="*/ 54 h 150"/>
                  <a:gd name="T46" fmla="*/ 18 w 148"/>
                  <a:gd name="T47" fmla="*/ 76 h 150"/>
                  <a:gd name="T48" fmla="*/ 20 w 148"/>
                  <a:gd name="T49" fmla="*/ 86 h 150"/>
                  <a:gd name="T50" fmla="*/ 28 w 148"/>
                  <a:gd name="T51" fmla="*/ 106 h 150"/>
                  <a:gd name="T52" fmla="*/ 42 w 148"/>
                  <a:gd name="T53" fmla="*/ 122 h 150"/>
                  <a:gd name="T54" fmla="*/ 64 w 148"/>
                  <a:gd name="T55" fmla="*/ 130 h 150"/>
                  <a:gd name="T56" fmla="*/ 74 w 148"/>
                  <a:gd name="T57" fmla="*/ 132 h 150"/>
                  <a:gd name="T58" fmla="*/ 96 w 148"/>
                  <a:gd name="T59" fmla="*/ 128 h 150"/>
                  <a:gd name="T60" fmla="*/ 114 w 148"/>
                  <a:gd name="T61" fmla="*/ 116 h 150"/>
                  <a:gd name="T62" fmla="*/ 126 w 148"/>
                  <a:gd name="T63" fmla="*/ 98 h 150"/>
                  <a:gd name="T64" fmla="*/ 130 w 148"/>
                  <a:gd name="T65" fmla="*/ 76 h 150"/>
                  <a:gd name="T66" fmla="*/ 130 w 148"/>
                  <a:gd name="T67" fmla="*/ 64 h 150"/>
                  <a:gd name="T68" fmla="*/ 122 w 148"/>
                  <a:gd name="T69" fmla="*/ 44 h 150"/>
                  <a:gd name="T70" fmla="*/ 106 w 148"/>
                  <a:gd name="T71" fmla="*/ 28 h 150"/>
                  <a:gd name="T72" fmla="*/ 86 w 148"/>
                  <a:gd name="T73" fmla="*/ 20 h 150"/>
                  <a:gd name="T74" fmla="*/ 74 w 148"/>
                  <a:gd name="T75"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50">
                    <a:moveTo>
                      <a:pt x="74" y="150"/>
                    </a:moveTo>
                    <a:lnTo>
                      <a:pt x="74" y="150"/>
                    </a:lnTo>
                    <a:lnTo>
                      <a:pt x="60" y="148"/>
                    </a:lnTo>
                    <a:lnTo>
                      <a:pt x="46" y="144"/>
                    </a:lnTo>
                    <a:lnTo>
                      <a:pt x="32" y="136"/>
                    </a:lnTo>
                    <a:lnTo>
                      <a:pt x="22" y="128"/>
                    </a:lnTo>
                    <a:lnTo>
                      <a:pt x="12" y="116"/>
                    </a:lnTo>
                    <a:lnTo>
                      <a:pt x="6" y="104"/>
                    </a:lnTo>
                    <a:lnTo>
                      <a:pt x="2" y="90"/>
                    </a:lnTo>
                    <a:lnTo>
                      <a:pt x="0" y="76"/>
                    </a:lnTo>
                    <a:lnTo>
                      <a:pt x="0" y="76"/>
                    </a:lnTo>
                    <a:lnTo>
                      <a:pt x="2" y="60"/>
                    </a:lnTo>
                    <a:lnTo>
                      <a:pt x="6" y="46"/>
                    </a:lnTo>
                    <a:lnTo>
                      <a:pt x="12" y="34"/>
                    </a:lnTo>
                    <a:lnTo>
                      <a:pt x="22" y="22"/>
                    </a:lnTo>
                    <a:lnTo>
                      <a:pt x="32" y="14"/>
                    </a:lnTo>
                    <a:lnTo>
                      <a:pt x="46" y="6"/>
                    </a:lnTo>
                    <a:lnTo>
                      <a:pt x="60" y="2"/>
                    </a:lnTo>
                    <a:lnTo>
                      <a:pt x="74" y="0"/>
                    </a:lnTo>
                    <a:lnTo>
                      <a:pt x="74" y="0"/>
                    </a:lnTo>
                    <a:lnTo>
                      <a:pt x="90" y="2"/>
                    </a:lnTo>
                    <a:lnTo>
                      <a:pt x="104" y="6"/>
                    </a:lnTo>
                    <a:lnTo>
                      <a:pt x="116" y="14"/>
                    </a:lnTo>
                    <a:lnTo>
                      <a:pt x="128" y="22"/>
                    </a:lnTo>
                    <a:lnTo>
                      <a:pt x="136" y="34"/>
                    </a:lnTo>
                    <a:lnTo>
                      <a:pt x="144" y="46"/>
                    </a:lnTo>
                    <a:lnTo>
                      <a:pt x="148" y="60"/>
                    </a:lnTo>
                    <a:lnTo>
                      <a:pt x="148" y="76"/>
                    </a:lnTo>
                    <a:lnTo>
                      <a:pt x="148" y="76"/>
                    </a:lnTo>
                    <a:lnTo>
                      <a:pt x="148" y="90"/>
                    </a:lnTo>
                    <a:lnTo>
                      <a:pt x="144" y="104"/>
                    </a:lnTo>
                    <a:lnTo>
                      <a:pt x="136" y="116"/>
                    </a:lnTo>
                    <a:lnTo>
                      <a:pt x="128" y="128"/>
                    </a:lnTo>
                    <a:lnTo>
                      <a:pt x="116" y="136"/>
                    </a:lnTo>
                    <a:lnTo>
                      <a:pt x="104" y="144"/>
                    </a:lnTo>
                    <a:lnTo>
                      <a:pt x="90" y="148"/>
                    </a:lnTo>
                    <a:lnTo>
                      <a:pt x="74" y="150"/>
                    </a:lnTo>
                    <a:lnTo>
                      <a:pt x="74" y="150"/>
                    </a:lnTo>
                    <a:close/>
                    <a:moveTo>
                      <a:pt x="74" y="18"/>
                    </a:moveTo>
                    <a:lnTo>
                      <a:pt x="74" y="18"/>
                    </a:lnTo>
                    <a:lnTo>
                      <a:pt x="64" y="20"/>
                    </a:lnTo>
                    <a:lnTo>
                      <a:pt x="52" y="24"/>
                    </a:lnTo>
                    <a:lnTo>
                      <a:pt x="42" y="28"/>
                    </a:lnTo>
                    <a:lnTo>
                      <a:pt x="34" y="36"/>
                    </a:lnTo>
                    <a:lnTo>
                      <a:pt x="28" y="44"/>
                    </a:lnTo>
                    <a:lnTo>
                      <a:pt x="22" y="54"/>
                    </a:lnTo>
                    <a:lnTo>
                      <a:pt x="20" y="64"/>
                    </a:lnTo>
                    <a:lnTo>
                      <a:pt x="18" y="76"/>
                    </a:lnTo>
                    <a:lnTo>
                      <a:pt x="18" y="76"/>
                    </a:lnTo>
                    <a:lnTo>
                      <a:pt x="20" y="86"/>
                    </a:lnTo>
                    <a:lnTo>
                      <a:pt x="22" y="98"/>
                    </a:lnTo>
                    <a:lnTo>
                      <a:pt x="28" y="106"/>
                    </a:lnTo>
                    <a:lnTo>
                      <a:pt x="34" y="116"/>
                    </a:lnTo>
                    <a:lnTo>
                      <a:pt x="42" y="122"/>
                    </a:lnTo>
                    <a:lnTo>
                      <a:pt x="52" y="128"/>
                    </a:lnTo>
                    <a:lnTo>
                      <a:pt x="64" y="130"/>
                    </a:lnTo>
                    <a:lnTo>
                      <a:pt x="74" y="132"/>
                    </a:lnTo>
                    <a:lnTo>
                      <a:pt x="74" y="132"/>
                    </a:lnTo>
                    <a:lnTo>
                      <a:pt x="86" y="130"/>
                    </a:lnTo>
                    <a:lnTo>
                      <a:pt x="96" y="128"/>
                    </a:lnTo>
                    <a:lnTo>
                      <a:pt x="106" y="122"/>
                    </a:lnTo>
                    <a:lnTo>
                      <a:pt x="114" y="116"/>
                    </a:lnTo>
                    <a:lnTo>
                      <a:pt x="122" y="106"/>
                    </a:lnTo>
                    <a:lnTo>
                      <a:pt x="126" y="98"/>
                    </a:lnTo>
                    <a:lnTo>
                      <a:pt x="130" y="86"/>
                    </a:lnTo>
                    <a:lnTo>
                      <a:pt x="130" y="76"/>
                    </a:lnTo>
                    <a:lnTo>
                      <a:pt x="130" y="76"/>
                    </a:lnTo>
                    <a:lnTo>
                      <a:pt x="130" y="64"/>
                    </a:lnTo>
                    <a:lnTo>
                      <a:pt x="126" y="54"/>
                    </a:lnTo>
                    <a:lnTo>
                      <a:pt x="122" y="44"/>
                    </a:lnTo>
                    <a:lnTo>
                      <a:pt x="114" y="36"/>
                    </a:lnTo>
                    <a:lnTo>
                      <a:pt x="106" y="28"/>
                    </a:lnTo>
                    <a:lnTo>
                      <a:pt x="96" y="24"/>
                    </a:lnTo>
                    <a:lnTo>
                      <a:pt x="86" y="20"/>
                    </a:lnTo>
                    <a:lnTo>
                      <a:pt x="74" y="18"/>
                    </a:lnTo>
                    <a:lnTo>
                      <a:pt x="74"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522" name="Rectangle 90">
                <a:extLst>
                  <a:ext uri="{FF2B5EF4-FFF2-40B4-BE49-F238E27FC236}">
                    <a16:creationId xmlns:a16="http://schemas.microsoft.com/office/drawing/2014/main" id="{C71AB52A-4F15-E5EF-3A62-31B7964EEA46}"/>
                  </a:ext>
                </a:extLst>
              </p:cNvPr>
              <p:cNvSpPr>
                <a:spLocks noChangeArrowheads="1"/>
              </p:cNvSpPr>
              <p:nvPr/>
            </p:nvSpPr>
            <p:spPr bwMode="auto">
              <a:xfrm rot="5400000">
                <a:off x="1188133" y="4075186"/>
                <a:ext cx="296642" cy="1125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524" name="Rectangle 90">
                <a:extLst>
                  <a:ext uri="{FF2B5EF4-FFF2-40B4-BE49-F238E27FC236}">
                    <a16:creationId xmlns:a16="http://schemas.microsoft.com/office/drawing/2014/main" id="{B13B14A7-254B-368C-B908-A4DCB0A9ED66}"/>
                  </a:ext>
                </a:extLst>
              </p:cNvPr>
              <p:cNvSpPr>
                <a:spLocks noChangeArrowheads="1"/>
              </p:cNvSpPr>
              <p:nvPr/>
            </p:nvSpPr>
            <p:spPr bwMode="auto">
              <a:xfrm rot="5400000">
                <a:off x="932246" y="4079571"/>
                <a:ext cx="296642" cy="1125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525" name="Rectangle 90">
                <a:extLst>
                  <a:ext uri="{FF2B5EF4-FFF2-40B4-BE49-F238E27FC236}">
                    <a16:creationId xmlns:a16="http://schemas.microsoft.com/office/drawing/2014/main" id="{3E6AC20E-A63E-6F4D-A0A1-1600554A9EEE}"/>
                  </a:ext>
                </a:extLst>
              </p:cNvPr>
              <p:cNvSpPr>
                <a:spLocks noChangeArrowheads="1"/>
              </p:cNvSpPr>
              <p:nvPr/>
            </p:nvSpPr>
            <p:spPr bwMode="auto">
              <a:xfrm rot="5400000">
                <a:off x="672120" y="4080595"/>
                <a:ext cx="296642" cy="1125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527" name="Rectangle 89">
                <a:extLst>
                  <a:ext uri="{FF2B5EF4-FFF2-40B4-BE49-F238E27FC236}">
                    <a16:creationId xmlns:a16="http://schemas.microsoft.com/office/drawing/2014/main" id="{C9C3E46B-98E7-F967-52FB-214B827B2DD5}"/>
                  </a:ext>
                </a:extLst>
              </p:cNvPr>
              <p:cNvSpPr>
                <a:spLocks noChangeArrowheads="1"/>
              </p:cNvSpPr>
              <p:nvPr/>
            </p:nvSpPr>
            <p:spPr bwMode="auto">
              <a:xfrm>
                <a:off x="590853" y="4382726"/>
                <a:ext cx="973617" cy="5349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grpSp>
        <p:sp>
          <p:nvSpPr>
            <p:cNvPr id="17" name="Oval 16">
              <a:extLst>
                <a:ext uri="{FF2B5EF4-FFF2-40B4-BE49-F238E27FC236}">
                  <a16:creationId xmlns:a16="http://schemas.microsoft.com/office/drawing/2014/main" id="{F4F71774-5B70-020F-7EBF-C90DC389600B}"/>
                </a:ext>
              </a:extLst>
            </p:cNvPr>
            <p:cNvSpPr/>
            <p:nvPr/>
          </p:nvSpPr>
          <p:spPr>
            <a:xfrm>
              <a:off x="2768898" y="3307331"/>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18" name="Group 17">
              <a:extLst>
                <a:ext uri="{FF2B5EF4-FFF2-40B4-BE49-F238E27FC236}">
                  <a16:creationId xmlns:a16="http://schemas.microsoft.com/office/drawing/2014/main" id="{8CFC4C34-D788-4471-5F1C-2FB7D13BCC8F}"/>
                </a:ext>
              </a:extLst>
            </p:cNvPr>
            <p:cNvGrpSpPr/>
            <p:nvPr/>
          </p:nvGrpSpPr>
          <p:grpSpPr>
            <a:xfrm>
              <a:off x="2858275" y="3352198"/>
              <a:ext cx="181640" cy="264389"/>
              <a:chOff x="5290339" y="1745898"/>
              <a:chExt cx="1272385" cy="1854582"/>
            </a:xfrm>
          </p:grpSpPr>
          <p:sp>
            <p:nvSpPr>
              <p:cNvPr id="19" name="Freeform 25">
                <a:extLst>
                  <a:ext uri="{FF2B5EF4-FFF2-40B4-BE49-F238E27FC236}">
                    <a16:creationId xmlns:a16="http://schemas.microsoft.com/office/drawing/2014/main" id="{99CD9B72-7C99-560F-2168-BE00E01E15E8}"/>
                  </a:ext>
                </a:extLst>
              </p:cNvPr>
              <p:cNvSpPr>
                <a:spLocks/>
              </p:cNvSpPr>
              <p:nvPr/>
            </p:nvSpPr>
            <p:spPr bwMode="auto">
              <a:xfrm>
                <a:off x="5290339" y="1910551"/>
                <a:ext cx="1272385" cy="1689929"/>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20" name="Freeform 26">
                <a:extLst>
                  <a:ext uri="{FF2B5EF4-FFF2-40B4-BE49-F238E27FC236}">
                    <a16:creationId xmlns:a16="http://schemas.microsoft.com/office/drawing/2014/main" id="{2528B110-F305-280F-A930-F63628AFFB90}"/>
                  </a:ext>
                </a:extLst>
              </p:cNvPr>
              <p:cNvSpPr>
                <a:spLocks noEditPoints="1"/>
              </p:cNvSpPr>
              <p:nvPr/>
            </p:nvSpPr>
            <p:spPr bwMode="auto">
              <a:xfrm>
                <a:off x="5488185" y="1745898"/>
                <a:ext cx="876693" cy="1597142"/>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rgbClr val="0A6E7C"/>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21" name="Rectangle 20">
                <a:extLst>
                  <a:ext uri="{FF2B5EF4-FFF2-40B4-BE49-F238E27FC236}">
                    <a16:creationId xmlns:a16="http://schemas.microsoft.com/office/drawing/2014/main" id="{D994B292-E9A2-2C52-5F56-5270D5D3020C}"/>
                  </a:ext>
                </a:extLst>
              </p:cNvPr>
              <p:cNvSpPr/>
              <p:nvPr/>
            </p:nvSpPr>
            <p:spPr>
              <a:xfrm>
                <a:off x="5436843" y="2232723"/>
                <a:ext cx="985838" cy="115897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22" name="Trapezoid 21">
                <a:extLst>
                  <a:ext uri="{FF2B5EF4-FFF2-40B4-BE49-F238E27FC236}">
                    <a16:creationId xmlns:a16="http://schemas.microsoft.com/office/drawing/2014/main" id="{EAF06541-A7B4-D273-63DE-B60D711C90BC}"/>
                  </a:ext>
                </a:extLst>
              </p:cNvPr>
              <p:cNvSpPr/>
              <p:nvPr/>
            </p:nvSpPr>
            <p:spPr>
              <a:xfrm>
                <a:off x="5618711" y="2483201"/>
                <a:ext cx="615637" cy="615637"/>
              </a:xfrm>
              <a:prstGeom prst="trapezoid">
                <a:avLst/>
              </a:prstGeom>
              <a:solidFill>
                <a:srgbClr val="0A6E7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grpSp>
        <p:nvGrpSpPr>
          <p:cNvPr id="598" name="Group 597">
            <a:extLst>
              <a:ext uri="{FF2B5EF4-FFF2-40B4-BE49-F238E27FC236}">
                <a16:creationId xmlns:a16="http://schemas.microsoft.com/office/drawing/2014/main" id="{E4650389-D037-3C2E-A28C-FBCEC415D00F}"/>
              </a:ext>
            </a:extLst>
          </p:cNvPr>
          <p:cNvGrpSpPr/>
          <p:nvPr/>
        </p:nvGrpSpPr>
        <p:grpSpPr>
          <a:xfrm>
            <a:off x="7255357" y="2774291"/>
            <a:ext cx="3820372" cy="3168819"/>
            <a:chOff x="6722671" y="2774291"/>
            <a:chExt cx="3820372" cy="3168819"/>
          </a:xfrm>
        </p:grpSpPr>
        <p:sp>
          <p:nvSpPr>
            <p:cNvPr id="599" name="AutoShape 3">
              <a:extLst>
                <a:ext uri="{FF2B5EF4-FFF2-40B4-BE49-F238E27FC236}">
                  <a16:creationId xmlns:a16="http://schemas.microsoft.com/office/drawing/2014/main" id="{3E1D98FA-5BF3-9F90-AE4B-63C68A8E237D}"/>
                </a:ext>
              </a:extLst>
            </p:cNvPr>
            <p:cNvSpPr>
              <a:spLocks noChangeAspect="1" noChangeArrowheads="1" noTextEdit="1"/>
            </p:cNvSpPr>
            <p:nvPr/>
          </p:nvSpPr>
          <p:spPr bwMode="auto">
            <a:xfrm>
              <a:off x="8904192" y="3495543"/>
              <a:ext cx="293358"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00" name="AutoShape 3">
              <a:extLst>
                <a:ext uri="{FF2B5EF4-FFF2-40B4-BE49-F238E27FC236}">
                  <a16:creationId xmlns:a16="http://schemas.microsoft.com/office/drawing/2014/main" id="{E1EEB698-7378-F5BC-1344-EA0E00752798}"/>
                </a:ext>
              </a:extLst>
            </p:cNvPr>
            <p:cNvSpPr>
              <a:spLocks noChangeAspect="1" noChangeArrowheads="1" noTextEdit="1"/>
            </p:cNvSpPr>
            <p:nvPr/>
          </p:nvSpPr>
          <p:spPr bwMode="auto">
            <a:xfrm>
              <a:off x="9596257" y="5204479"/>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01" name="AutoShape 23">
              <a:extLst>
                <a:ext uri="{FF2B5EF4-FFF2-40B4-BE49-F238E27FC236}">
                  <a16:creationId xmlns:a16="http://schemas.microsoft.com/office/drawing/2014/main" id="{00422424-4BD2-A858-34E6-3050C45192C1}"/>
                </a:ext>
              </a:extLst>
            </p:cNvPr>
            <p:cNvSpPr>
              <a:spLocks noChangeAspect="1" noChangeArrowheads="1" noTextEdit="1"/>
            </p:cNvSpPr>
            <p:nvPr/>
          </p:nvSpPr>
          <p:spPr bwMode="auto">
            <a:xfrm>
              <a:off x="9399738" y="5060241"/>
              <a:ext cx="332268"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02" name="AutoShape 3">
              <a:extLst>
                <a:ext uri="{FF2B5EF4-FFF2-40B4-BE49-F238E27FC236}">
                  <a16:creationId xmlns:a16="http://schemas.microsoft.com/office/drawing/2014/main" id="{9EB401BD-E15C-9B29-1D86-C34C4366EE54}"/>
                </a:ext>
              </a:extLst>
            </p:cNvPr>
            <p:cNvSpPr>
              <a:spLocks noChangeAspect="1" noChangeArrowheads="1" noTextEdit="1"/>
            </p:cNvSpPr>
            <p:nvPr/>
          </p:nvSpPr>
          <p:spPr bwMode="auto">
            <a:xfrm>
              <a:off x="8226031" y="5204479"/>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03" name="AutoShape 23">
              <a:extLst>
                <a:ext uri="{FF2B5EF4-FFF2-40B4-BE49-F238E27FC236}">
                  <a16:creationId xmlns:a16="http://schemas.microsoft.com/office/drawing/2014/main" id="{0155F291-5816-2605-883F-41E94431580A}"/>
                </a:ext>
              </a:extLst>
            </p:cNvPr>
            <p:cNvSpPr>
              <a:spLocks noChangeAspect="1" noChangeArrowheads="1" noTextEdit="1"/>
            </p:cNvSpPr>
            <p:nvPr/>
          </p:nvSpPr>
          <p:spPr bwMode="auto">
            <a:xfrm>
              <a:off x="8376927" y="5060241"/>
              <a:ext cx="332268"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04" name="AutoShape 3">
              <a:extLst>
                <a:ext uri="{FF2B5EF4-FFF2-40B4-BE49-F238E27FC236}">
                  <a16:creationId xmlns:a16="http://schemas.microsoft.com/office/drawing/2014/main" id="{D19852F7-BB71-60B3-3783-6223955312DE}"/>
                </a:ext>
              </a:extLst>
            </p:cNvPr>
            <p:cNvSpPr>
              <a:spLocks noChangeAspect="1" noChangeArrowheads="1" noTextEdit="1"/>
            </p:cNvSpPr>
            <p:nvPr/>
          </p:nvSpPr>
          <p:spPr bwMode="auto">
            <a:xfrm>
              <a:off x="9921381" y="4197371"/>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grpSp>
          <p:nvGrpSpPr>
            <p:cNvPr id="605" name="Group 604">
              <a:extLst>
                <a:ext uri="{FF2B5EF4-FFF2-40B4-BE49-F238E27FC236}">
                  <a16:creationId xmlns:a16="http://schemas.microsoft.com/office/drawing/2014/main" id="{D4094C4A-F41C-54D1-0FD9-DE9B2B172556}"/>
                </a:ext>
              </a:extLst>
            </p:cNvPr>
            <p:cNvGrpSpPr/>
            <p:nvPr/>
          </p:nvGrpSpPr>
          <p:grpSpPr>
            <a:xfrm>
              <a:off x="9800673" y="4087810"/>
              <a:ext cx="181640" cy="264389"/>
              <a:chOff x="2746376" y="2461408"/>
              <a:chExt cx="1104950" cy="1608332"/>
            </a:xfrm>
          </p:grpSpPr>
          <p:sp>
            <p:nvSpPr>
              <p:cNvPr id="701" name="Freeform 25">
                <a:extLst>
                  <a:ext uri="{FF2B5EF4-FFF2-40B4-BE49-F238E27FC236}">
                    <a16:creationId xmlns:a16="http://schemas.microsoft.com/office/drawing/2014/main" id="{E66707D4-D88F-5722-C6C1-2EDBA0E83EE1}"/>
                  </a:ext>
                </a:extLst>
              </p:cNvPr>
              <p:cNvSpPr>
                <a:spLocks/>
              </p:cNvSpPr>
              <p:nvPr/>
            </p:nvSpPr>
            <p:spPr bwMode="auto">
              <a:xfrm>
                <a:off x="2746376" y="2602188"/>
                <a:ext cx="1104950" cy="1467552"/>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702" name="Freeform 26">
                <a:extLst>
                  <a:ext uri="{FF2B5EF4-FFF2-40B4-BE49-F238E27FC236}">
                    <a16:creationId xmlns:a16="http://schemas.microsoft.com/office/drawing/2014/main" id="{9C1B1D4A-D7A0-A424-6DD2-D89A09B9C6D1}"/>
                  </a:ext>
                </a:extLst>
              </p:cNvPr>
              <p:cNvSpPr>
                <a:spLocks noEditPoints="1"/>
              </p:cNvSpPr>
              <p:nvPr/>
            </p:nvSpPr>
            <p:spPr bwMode="auto">
              <a:xfrm>
                <a:off x="2918187" y="2461408"/>
                <a:ext cx="761332" cy="1386974"/>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accent1"/>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grpSp>
          <p:nvGrpSpPr>
            <p:cNvPr id="606" name="Group 605">
              <a:extLst>
                <a:ext uri="{FF2B5EF4-FFF2-40B4-BE49-F238E27FC236}">
                  <a16:creationId xmlns:a16="http://schemas.microsoft.com/office/drawing/2014/main" id="{F7D6A88C-1207-6D8D-6A62-EA5EED45AE60}"/>
                </a:ext>
              </a:extLst>
            </p:cNvPr>
            <p:cNvGrpSpPr>
              <a:grpSpLocks/>
            </p:cNvGrpSpPr>
            <p:nvPr/>
          </p:nvGrpSpPr>
          <p:grpSpPr>
            <a:xfrm>
              <a:off x="7619294" y="3563494"/>
              <a:ext cx="1644407" cy="1644407"/>
              <a:chOff x="7510411" y="1103091"/>
              <a:chExt cx="3200400" cy="2048256"/>
            </a:xfrm>
          </p:grpSpPr>
          <p:sp>
            <p:nvSpPr>
              <p:cNvPr id="696" name="Regular Pentagon 1">
                <a:extLst>
                  <a:ext uri="{FF2B5EF4-FFF2-40B4-BE49-F238E27FC236}">
                    <a16:creationId xmlns:a16="http://schemas.microsoft.com/office/drawing/2014/main" id="{958F693D-9B21-C39C-7440-84353088CFB1}"/>
                  </a:ext>
                </a:extLst>
              </p:cNvPr>
              <p:cNvSpPr/>
              <p:nvPr/>
            </p:nvSpPr>
            <p:spPr>
              <a:xfrm>
                <a:off x="7510411" y="1103091"/>
                <a:ext cx="3200400" cy="2048256"/>
              </a:xfrm>
              <a:prstGeom prst="pentagon">
                <a:avLst/>
              </a:prstGeom>
              <a:noFill/>
              <a:ln w="6096" cap="rnd" cmpd="sng" algn="ctr">
                <a:solidFill>
                  <a:srgbClr val="575757">
                    <a:lumMod val="40000"/>
                    <a:lumOff val="60000"/>
                  </a:srgbClr>
                </a:solidFill>
                <a:prstDash val="dash"/>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58522" tIns="29261" rIns="58522" bIns="29261"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cxnSp>
            <p:nvCxnSpPr>
              <p:cNvPr id="697" name="Straight Connector 696">
                <a:extLst>
                  <a:ext uri="{FF2B5EF4-FFF2-40B4-BE49-F238E27FC236}">
                    <a16:creationId xmlns:a16="http://schemas.microsoft.com/office/drawing/2014/main" id="{EC0A4556-7164-2D1D-36D1-3AE3E2EC85B1}"/>
                  </a:ext>
                </a:extLst>
              </p:cNvPr>
              <p:cNvCxnSpPr>
                <a:stCxn id="696" idx="2"/>
                <a:endCxn id="696" idx="5"/>
              </p:cNvCxnSpPr>
              <p:nvPr/>
            </p:nvCxnSpPr>
            <p:spPr>
              <a:xfrm flipV="1">
                <a:off x="8121634" y="1885453"/>
                <a:ext cx="2589174" cy="1265889"/>
              </a:xfrm>
              <a:prstGeom prst="line">
                <a:avLst/>
              </a:prstGeom>
              <a:noFill/>
              <a:ln w="6096" cap="rnd" cmpd="sng" algn="ctr">
                <a:solidFill>
                  <a:srgbClr val="575757">
                    <a:lumMod val="40000"/>
                    <a:lumOff val="60000"/>
                  </a:srgbClr>
                </a:solidFill>
                <a:prstDash val="dash"/>
                <a:round/>
              </a:ln>
              <a:effectLst/>
            </p:spPr>
          </p:cxnSp>
          <p:cxnSp>
            <p:nvCxnSpPr>
              <p:cNvPr id="698" name="Straight Connector 697">
                <a:extLst>
                  <a:ext uri="{FF2B5EF4-FFF2-40B4-BE49-F238E27FC236}">
                    <a16:creationId xmlns:a16="http://schemas.microsoft.com/office/drawing/2014/main" id="{F1A61653-D714-0CBD-D481-6D83E85E40BD}"/>
                  </a:ext>
                </a:extLst>
              </p:cNvPr>
              <p:cNvCxnSpPr>
                <a:stCxn id="696" idx="4"/>
                <a:endCxn id="696" idx="1"/>
              </p:cNvCxnSpPr>
              <p:nvPr/>
            </p:nvCxnSpPr>
            <p:spPr>
              <a:xfrm flipH="1" flipV="1">
                <a:off x="7510414" y="1885453"/>
                <a:ext cx="2589174" cy="1265889"/>
              </a:xfrm>
              <a:prstGeom prst="line">
                <a:avLst/>
              </a:prstGeom>
              <a:noFill/>
              <a:ln w="6096" cap="rnd" cmpd="sng" algn="ctr">
                <a:solidFill>
                  <a:srgbClr val="575757">
                    <a:lumMod val="40000"/>
                    <a:lumOff val="60000"/>
                  </a:srgbClr>
                </a:solidFill>
                <a:prstDash val="dash"/>
                <a:round/>
              </a:ln>
              <a:effectLst/>
            </p:spPr>
          </p:cxnSp>
          <p:cxnSp>
            <p:nvCxnSpPr>
              <p:cNvPr id="699" name="Straight Connector 698">
                <a:extLst>
                  <a:ext uri="{FF2B5EF4-FFF2-40B4-BE49-F238E27FC236}">
                    <a16:creationId xmlns:a16="http://schemas.microsoft.com/office/drawing/2014/main" id="{1D42837E-ABB8-E4D5-DFFB-B5DD37B507D6}"/>
                  </a:ext>
                </a:extLst>
              </p:cNvPr>
              <p:cNvCxnSpPr>
                <a:stCxn id="696" idx="2"/>
                <a:endCxn id="696" idx="0"/>
              </p:cNvCxnSpPr>
              <p:nvPr/>
            </p:nvCxnSpPr>
            <p:spPr>
              <a:xfrm flipV="1">
                <a:off x="8121634" y="1103091"/>
                <a:ext cx="988977" cy="2048251"/>
              </a:xfrm>
              <a:prstGeom prst="line">
                <a:avLst/>
              </a:prstGeom>
              <a:noFill/>
              <a:ln w="6096" cap="rnd" cmpd="sng" algn="ctr">
                <a:solidFill>
                  <a:srgbClr val="575757">
                    <a:lumMod val="40000"/>
                    <a:lumOff val="60000"/>
                  </a:srgbClr>
                </a:solidFill>
                <a:prstDash val="dash"/>
                <a:round/>
              </a:ln>
              <a:effectLst/>
            </p:spPr>
          </p:cxnSp>
          <p:cxnSp>
            <p:nvCxnSpPr>
              <p:cNvPr id="700" name="Straight Connector 699">
                <a:extLst>
                  <a:ext uri="{FF2B5EF4-FFF2-40B4-BE49-F238E27FC236}">
                    <a16:creationId xmlns:a16="http://schemas.microsoft.com/office/drawing/2014/main" id="{FED40762-9419-6A48-0185-8F376E249889}"/>
                  </a:ext>
                </a:extLst>
              </p:cNvPr>
              <p:cNvCxnSpPr>
                <a:stCxn id="696" idx="4"/>
                <a:endCxn id="696" idx="0"/>
              </p:cNvCxnSpPr>
              <p:nvPr/>
            </p:nvCxnSpPr>
            <p:spPr>
              <a:xfrm flipH="1" flipV="1">
                <a:off x="9110611" y="1103091"/>
                <a:ext cx="988977" cy="2048251"/>
              </a:xfrm>
              <a:prstGeom prst="line">
                <a:avLst/>
              </a:prstGeom>
              <a:noFill/>
              <a:ln w="6096" cap="rnd" cmpd="sng" algn="ctr">
                <a:solidFill>
                  <a:srgbClr val="575757">
                    <a:lumMod val="40000"/>
                    <a:lumOff val="60000"/>
                  </a:srgbClr>
                </a:solidFill>
                <a:prstDash val="dash"/>
                <a:round/>
              </a:ln>
              <a:effectLst/>
            </p:spPr>
          </p:cxnSp>
        </p:grpSp>
        <p:sp>
          <p:nvSpPr>
            <p:cNvPr id="607" name="AutoShape 3">
              <a:extLst>
                <a:ext uri="{FF2B5EF4-FFF2-40B4-BE49-F238E27FC236}">
                  <a16:creationId xmlns:a16="http://schemas.microsoft.com/office/drawing/2014/main" id="{7654FA40-406F-2F2D-B4A1-5C99B867C8B1}"/>
                </a:ext>
              </a:extLst>
            </p:cNvPr>
            <p:cNvSpPr>
              <a:spLocks noChangeAspect="1" noChangeArrowheads="1" noTextEdit="1"/>
            </p:cNvSpPr>
            <p:nvPr/>
          </p:nvSpPr>
          <p:spPr bwMode="auto">
            <a:xfrm>
              <a:off x="8292741" y="3459832"/>
              <a:ext cx="293358"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08" name="Freeform 5">
              <a:extLst>
                <a:ext uri="{FF2B5EF4-FFF2-40B4-BE49-F238E27FC236}">
                  <a16:creationId xmlns:a16="http://schemas.microsoft.com/office/drawing/2014/main" id="{2006C968-5B20-5CDD-CAC3-CC60F7FB535B}"/>
                </a:ext>
              </a:extLst>
            </p:cNvPr>
            <p:cNvSpPr>
              <a:spLocks noEditPoints="1"/>
            </p:cNvSpPr>
            <p:nvPr/>
          </p:nvSpPr>
          <p:spPr bwMode="auto">
            <a:xfrm>
              <a:off x="8325033" y="3479207"/>
              <a:ext cx="229060"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09" name="AutoShape 3">
              <a:extLst>
                <a:ext uri="{FF2B5EF4-FFF2-40B4-BE49-F238E27FC236}">
                  <a16:creationId xmlns:a16="http://schemas.microsoft.com/office/drawing/2014/main" id="{DF8C05C9-DF11-5ED7-C257-9B196FA35B3B}"/>
                </a:ext>
              </a:extLst>
            </p:cNvPr>
            <p:cNvSpPr>
              <a:spLocks noChangeAspect="1" noChangeArrowheads="1" noTextEdit="1"/>
            </p:cNvSpPr>
            <p:nvPr/>
          </p:nvSpPr>
          <p:spPr bwMode="auto">
            <a:xfrm>
              <a:off x="8984806" y="5168768"/>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10" name="Freeform 5">
              <a:extLst>
                <a:ext uri="{FF2B5EF4-FFF2-40B4-BE49-F238E27FC236}">
                  <a16:creationId xmlns:a16="http://schemas.microsoft.com/office/drawing/2014/main" id="{6C44E80B-6C32-9503-86DF-801A2207BD9B}"/>
                </a:ext>
              </a:extLst>
            </p:cNvPr>
            <p:cNvSpPr>
              <a:spLocks noEditPoints="1"/>
            </p:cNvSpPr>
            <p:nvPr/>
          </p:nvSpPr>
          <p:spPr bwMode="auto">
            <a:xfrm>
              <a:off x="9017098" y="5188144"/>
              <a:ext cx="229059"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11" name="AutoShape 23">
              <a:extLst>
                <a:ext uri="{FF2B5EF4-FFF2-40B4-BE49-F238E27FC236}">
                  <a16:creationId xmlns:a16="http://schemas.microsoft.com/office/drawing/2014/main" id="{E7635F90-F0A2-6795-B33B-AE1CA5F57964}"/>
                </a:ext>
              </a:extLst>
            </p:cNvPr>
            <p:cNvSpPr>
              <a:spLocks noChangeAspect="1" noChangeArrowheads="1" noTextEdit="1"/>
            </p:cNvSpPr>
            <p:nvPr/>
          </p:nvSpPr>
          <p:spPr bwMode="auto">
            <a:xfrm>
              <a:off x="8788287" y="5024530"/>
              <a:ext cx="332268"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12" name="AutoShape 3">
              <a:extLst>
                <a:ext uri="{FF2B5EF4-FFF2-40B4-BE49-F238E27FC236}">
                  <a16:creationId xmlns:a16="http://schemas.microsoft.com/office/drawing/2014/main" id="{24D5A636-1EB2-DC08-A15B-F7404757A1BF}"/>
                </a:ext>
              </a:extLst>
            </p:cNvPr>
            <p:cNvSpPr>
              <a:spLocks noChangeAspect="1" noChangeArrowheads="1" noTextEdit="1"/>
            </p:cNvSpPr>
            <p:nvPr/>
          </p:nvSpPr>
          <p:spPr bwMode="auto">
            <a:xfrm>
              <a:off x="7614580" y="5168768"/>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13" name="Freeform 5">
              <a:extLst>
                <a:ext uri="{FF2B5EF4-FFF2-40B4-BE49-F238E27FC236}">
                  <a16:creationId xmlns:a16="http://schemas.microsoft.com/office/drawing/2014/main" id="{596770F5-7C8E-3E51-A2D7-1BF854E156A1}"/>
                </a:ext>
              </a:extLst>
            </p:cNvPr>
            <p:cNvSpPr>
              <a:spLocks noEditPoints="1"/>
            </p:cNvSpPr>
            <p:nvPr/>
          </p:nvSpPr>
          <p:spPr bwMode="auto">
            <a:xfrm>
              <a:off x="7646873" y="5188144"/>
              <a:ext cx="229059"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nvGrpSpPr>
            <p:cNvPr id="614" name="bcgBugs_Database">
              <a:extLst>
                <a:ext uri="{FF2B5EF4-FFF2-40B4-BE49-F238E27FC236}">
                  <a16:creationId xmlns:a16="http://schemas.microsoft.com/office/drawing/2014/main" id="{6C915788-8002-9AA8-1EFD-F8558B12969F}"/>
                </a:ext>
              </a:extLst>
            </p:cNvPr>
            <p:cNvGrpSpPr>
              <a:grpSpLocks noChangeAspect="1"/>
            </p:cNvGrpSpPr>
            <p:nvPr/>
          </p:nvGrpSpPr>
          <p:grpSpPr bwMode="auto">
            <a:xfrm>
              <a:off x="7299805" y="4164781"/>
              <a:ext cx="293358" cy="293644"/>
              <a:chOff x="2818" y="1137"/>
              <a:chExt cx="2044" cy="2046"/>
            </a:xfrm>
            <a:noFill/>
          </p:grpSpPr>
          <p:sp>
            <p:nvSpPr>
              <p:cNvPr id="694" name="AutoShape 3">
                <a:extLst>
                  <a:ext uri="{FF2B5EF4-FFF2-40B4-BE49-F238E27FC236}">
                    <a16:creationId xmlns:a16="http://schemas.microsoft.com/office/drawing/2014/main" id="{C85F0F18-C97E-4C8B-9513-46F63CA40C36}"/>
                  </a:ext>
                </a:extLst>
              </p:cNvPr>
              <p:cNvSpPr>
                <a:spLocks noChangeAspect="1" noChangeArrowheads="1" noTextEdit="1"/>
              </p:cNvSpPr>
              <p:nvPr/>
            </p:nvSpPr>
            <p:spPr bwMode="auto">
              <a:xfrm>
                <a:off x="2818" y="1137"/>
                <a:ext cx="2044" cy="20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95" name="Freeform 5">
                <a:extLst>
                  <a:ext uri="{FF2B5EF4-FFF2-40B4-BE49-F238E27FC236}">
                    <a16:creationId xmlns:a16="http://schemas.microsoft.com/office/drawing/2014/main" id="{60F769A9-EC19-D98E-9832-1FF0BB6AA4AC}"/>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sp>
          <p:nvSpPr>
            <p:cNvPr id="615" name="AutoShape 23">
              <a:extLst>
                <a:ext uri="{FF2B5EF4-FFF2-40B4-BE49-F238E27FC236}">
                  <a16:creationId xmlns:a16="http://schemas.microsoft.com/office/drawing/2014/main" id="{60F8818B-BAF1-CCEC-AA18-727E6FBF9BDE}"/>
                </a:ext>
              </a:extLst>
            </p:cNvPr>
            <p:cNvSpPr>
              <a:spLocks noChangeAspect="1" noChangeArrowheads="1" noTextEdit="1"/>
            </p:cNvSpPr>
            <p:nvPr/>
          </p:nvSpPr>
          <p:spPr bwMode="auto">
            <a:xfrm>
              <a:off x="7450701" y="4020542"/>
              <a:ext cx="332269"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16" name="AutoShape 3">
              <a:extLst>
                <a:ext uri="{FF2B5EF4-FFF2-40B4-BE49-F238E27FC236}">
                  <a16:creationId xmlns:a16="http://schemas.microsoft.com/office/drawing/2014/main" id="{0792D136-46BF-2898-C1C5-28429E98CB17}"/>
                </a:ext>
              </a:extLst>
            </p:cNvPr>
            <p:cNvSpPr>
              <a:spLocks noChangeAspect="1" noChangeArrowheads="1" noTextEdit="1"/>
            </p:cNvSpPr>
            <p:nvPr/>
          </p:nvSpPr>
          <p:spPr bwMode="auto">
            <a:xfrm>
              <a:off x="9309930" y="4161660"/>
              <a:ext cx="293357" cy="29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17" name="Freeform 5">
              <a:extLst>
                <a:ext uri="{FF2B5EF4-FFF2-40B4-BE49-F238E27FC236}">
                  <a16:creationId xmlns:a16="http://schemas.microsoft.com/office/drawing/2014/main" id="{9C98591A-9CD5-A449-7F9F-C3584A8D0534}"/>
                </a:ext>
              </a:extLst>
            </p:cNvPr>
            <p:cNvSpPr>
              <a:spLocks noEditPoints="1"/>
            </p:cNvSpPr>
            <p:nvPr/>
          </p:nvSpPr>
          <p:spPr bwMode="auto">
            <a:xfrm>
              <a:off x="9342222" y="4181036"/>
              <a:ext cx="229059" cy="255180"/>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18" name="AutoShape 23">
              <a:extLst>
                <a:ext uri="{FF2B5EF4-FFF2-40B4-BE49-F238E27FC236}">
                  <a16:creationId xmlns:a16="http://schemas.microsoft.com/office/drawing/2014/main" id="{B0C07970-F28D-19AD-944B-B6B4CB9B180E}"/>
                </a:ext>
              </a:extLst>
            </p:cNvPr>
            <p:cNvSpPr>
              <a:spLocks noChangeAspect="1" noChangeArrowheads="1" noTextEdit="1"/>
            </p:cNvSpPr>
            <p:nvPr/>
          </p:nvSpPr>
          <p:spPr bwMode="auto">
            <a:xfrm>
              <a:off x="9113411" y="4017422"/>
              <a:ext cx="332268" cy="33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kern="0">
                <a:solidFill>
                  <a:srgbClr val="575757"/>
                </a:solidFill>
                <a:latin typeface="Trebuchet MS"/>
              </a:endParaRPr>
            </a:p>
          </p:txBody>
        </p:sp>
        <p:sp>
          <p:nvSpPr>
            <p:cNvPr id="619" name="Freeform 6">
              <a:extLst>
                <a:ext uri="{FF2B5EF4-FFF2-40B4-BE49-F238E27FC236}">
                  <a16:creationId xmlns:a16="http://schemas.microsoft.com/office/drawing/2014/main" id="{78F4D2F8-461D-9A00-AD2C-FB7B8C2D73CF}"/>
                </a:ext>
              </a:extLst>
            </p:cNvPr>
            <p:cNvSpPr/>
            <p:nvPr/>
          </p:nvSpPr>
          <p:spPr>
            <a:xfrm>
              <a:off x="7113442" y="5361170"/>
              <a:ext cx="502129" cy="529185"/>
            </a:xfrm>
            <a:custGeom>
              <a:avLst/>
              <a:gdLst>
                <a:gd name="connsiteX0" fmla="*/ 3472852 w 3593592"/>
                <a:gd name="connsiteY0" fmla="*/ 3187582 h 5217566"/>
                <a:gd name="connsiteX1" fmla="*/ 3593553 w 3593592"/>
                <a:gd name="connsiteY1" fmla="*/ 3066881 h 5217566"/>
                <a:gd name="connsiteX2" fmla="*/ 3593553 w 3593592"/>
                <a:gd name="connsiteY2" fmla="*/ 2578592 h 5217566"/>
                <a:gd name="connsiteX3" fmla="*/ 3472852 w 3593592"/>
                <a:gd name="connsiteY3" fmla="*/ 2457891 h 5217566"/>
                <a:gd name="connsiteX4" fmla="*/ 3258882 w 3593592"/>
                <a:gd name="connsiteY4" fmla="*/ 2457891 h 5217566"/>
                <a:gd name="connsiteX5" fmla="*/ 1909228 w 3593592"/>
                <a:gd name="connsiteY5" fmla="*/ 1267342 h 5217566"/>
                <a:gd name="connsiteX6" fmla="*/ 1909228 w 3593592"/>
                <a:gd name="connsiteY6" fmla="*/ 905230 h 5217566"/>
                <a:gd name="connsiteX7" fmla="*/ 2496293 w 3593592"/>
                <a:gd name="connsiteY7" fmla="*/ 905230 h 5217566"/>
                <a:gd name="connsiteX8" fmla="*/ 2616993 w 3593592"/>
                <a:gd name="connsiteY8" fmla="*/ 784529 h 5217566"/>
                <a:gd name="connsiteX9" fmla="*/ 2616993 w 3593592"/>
                <a:gd name="connsiteY9" fmla="*/ 263331 h 5217566"/>
                <a:gd name="connsiteX10" fmla="*/ 2496293 w 3593592"/>
                <a:gd name="connsiteY10" fmla="*/ 142630 h 5217566"/>
                <a:gd name="connsiteX11" fmla="*/ 1914744 w 3593592"/>
                <a:gd name="connsiteY11" fmla="*/ 142630 h 5217566"/>
                <a:gd name="connsiteX12" fmla="*/ 1914744 w 3593592"/>
                <a:gd name="connsiteY12" fmla="*/ 120701 h 5217566"/>
                <a:gd name="connsiteX13" fmla="*/ 1794043 w 3593592"/>
                <a:gd name="connsiteY13" fmla="*/ 0 h 5217566"/>
                <a:gd name="connsiteX14" fmla="*/ 1673342 w 3593592"/>
                <a:gd name="connsiteY14" fmla="*/ 120701 h 5217566"/>
                <a:gd name="connsiteX15" fmla="*/ 1673342 w 3593592"/>
                <a:gd name="connsiteY15" fmla="*/ 1267358 h 5217566"/>
                <a:gd name="connsiteX16" fmla="*/ 323688 w 3593592"/>
                <a:gd name="connsiteY16" fmla="*/ 2457907 h 5217566"/>
                <a:gd name="connsiteX17" fmla="*/ 120701 w 3593592"/>
                <a:gd name="connsiteY17" fmla="*/ 2457907 h 5217566"/>
                <a:gd name="connsiteX18" fmla="*/ 0 w 3593592"/>
                <a:gd name="connsiteY18" fmla="*/ 2578608 h 5217566"/>
                <a:gd name="connsiteX19" fmla="*/ 0 w 3593592"/>
                <a:gd name="connsiteY19" fmla="*/ 3066898 h 5217566"/>
                <a:gd name="connsiteX20" fmla="*/ 120701 w 3593592"/>
                <a:gd name="connsiteY20" fmla="*/ 3187598 h 5217566"/>
                <a:gd name="connsiteX21" fmla="*/ 301752 w 3593592"/>
                <a:gd name="connsiteY21" fmla="*/ 3187598 h 5217566"/>
                <a:gd name="connsiteX22" fmla="*/ 301752 w 3593592"/>
                <a:gd name="connsiteY22" fmla="*/ 4487875 h 5217566"/>
                <a:gd name="connsiteX23" fmla="*/ 120701 w 3593592"/>
                <a:gd name="connsiteY23" fmla="*/ 4487875 h 5217566"/>
                <a:gd name="connsiteX24" fmla="*/ 0 w 3593592"/>
                <a:gd name="connsiteY24" fmla="*/ 4608576 h 5217566"/>
                <a:gd name="connsiteX25" fmla="*/ 0 w 3593592"/>
                <a:gd name="connsiteY25" fmla="*/ 5096866 h 5217566"/>
                <a:gd name="connsiteX26" fmla="*/ 120701 w 3593592"/>
                <a:gd name="connsiteY26" fmla="*/ 5217567 h 5217566"/>
                <a:gd name="connsiteX27" fmla="*/ 3472891 w 3593592"/>
                <a:gd name="connsiteY27" fmla="*/ 5217567 h 5217566"/>
                <a:gd name="connsiteX28" fmla="*/ 3593592 w 3593592"/>
                <a:gd name="connsiteY28" fmla="*/ 5096866 h 5217566"/>
                <a:gd name="connsiteX29" fmla="*/ 3593592 w 3593592"/>
                <a:gd name="connsiteY29" fmla="*/ 4608576 h 5217566"/>
                <a:gd name="connsiteX30" fmla="*/ 3472891 w 3593592"/>
                <a:gd name="connsiteY30" fmla="*/ 4487875 h 5217566"/>
                <a:gd name="connsiteX31" fmla="*/ 3291840 w 3593592"/>
                <a:gd name="connsiteY31" fmla="*/ 4487875 h 5217566"/>
                <a:gd name="connsiteX32" fmla="*/ 3291840 w 3593592"/>
                <a:gd name="connsiteY32" fmla="*/ 3187598 h 5217566"/>
                <a:gd name="connsiteX33" fmla="*/ 2381058 w 3593592"/>
                <a:gd name="connsiteY33" fmla="*/ 378545 h 5217566"/>
                <a:gd name="connsiteX34" fmla="*/ 2381058 w 3593592"/>
                <a:gd name="connsiteY34" fmla="*/ 663848 h 5217566"/>
                <a:gd name="connsiteX35" fmla="*/ 1914695 w 3593592"/>
                <a:gd name="connsiteY35" fmla="*/ 663848 h 5217566"/>
                <a:gd name="connsiteX36" fmla="*/ 1914733 w 3593592"/>
                <a:gd name="connsiteY36" fmla="*/ 378545 h 5217566"/>
                <a:gd name="connsiteX37" fmla="*/ 1794033 w 3593592"/>
                <a:gd name="connsiteY37" fmla="*/ 1497771 h 5217566"/>
                <a:gd name="connsiteX38" fmla="*/ 3017500 w 3593592"/>
                <a:gd name="connsiteY38" fmla="*/ 2457891 h 5217566"/>
                <a:gd name="connsiteX39" fmla="*/ 570566 w 3593592"/>
                <a:gd name="connsiteY39" fmla="*/ 2457891 h 5217566"/>
                <a:gd name="connsiteX40" fmla="*/ 1794033 w 3593592"/>
                <a:gd name="connsiteY40" fmla="*/ 1497771 h 5217566"/>
                <a:gd name="connsiteX41" fmla="*/ 241382 w 3593592"/>
                <a:gd name="connsiteY41" fmla="*/ 2693806 h 5217566"/>
                <a:gd name="connsiteX42" fmla="*/ 3357657 w 3593592"/>
                <a:gd name="connsiteY42" fmla="*/ 2693806 h 5217566"/>
                <a:gd name="connsiteX43" fmla="*/ 3357657 w 3593592"/>
                <a:gd name="connsiteY43" fmla="*/ 2946200 h 5217566"/>
                <a:gd name="connsiteX44" fmla="*/ 241382 w 3593592"/>
                <a:gd name="connsiteY44" fmla="*/ 2946162 h 5217566"/>
                <a:gd name="connsiteX45" fmla="*/ 2194540 w 3593592"/>
                <a:gd name="connsiteY45" fmla="*/ 4482372 h 5217566"/>
                <a:gd name="connsiteX46" fmla="*/ 2194540 w 3593592"/>
                <a:gd name="connsiteY46" fmla="*/ 3187582 h 5217566"/>
                <a:gd name="connsiteX47" fmla="*/ 2507285 w 3593592"/>
                <a:gd name="connsiteY47" fmla="*/ 3187582 h 5217566"/>
                <a:gd name="connsiteX48" fmla="*/ 2507285 w 3593592"/>
                <a:gd name="connsiteY48" fmla="*/ 4487859 h 5217566"/>
                <a:gd name="connsiteX49" fmla="*/ 2194540 w 3593592"/>
                <a:gd name="connsiteY49" fmla="*/ 4487859 h 5217566"/>
                <a:gd name="connsiteX50" fmla="*/ 1404489 w 3593592"/>
                <a:gd name="connsiteY50" fmla="*/ 3187582 h 5217566"/>
                <a:gd name="connsiteX51" fmla="*/ 1404489 w 3593592"/>
                <a:gd name="connsiteY51" fmla="*/ 4487859 h 5217566"/>
                <a:gd name="connsiteX52" fmla="*/ 1091745 w 3593592"/>
                <a:gd name="connsiteY52" fmla="*/ 4487859 h 5217566"/>
                <a:gd name="connsiteX53" fmla="*/ 1091783 w 3593592"/>
                <a:gd name="connsiteY53" fmla="*/ 3187582 h 5217566"/>
                <a:gd name="connsiteX54" fmla="*/ 1645900 w 3593592"/>
                <a:gd name="connsiteY54" fmla="*/ 3187582 h 5217566"/>
                <a:gd name="connsiteX55" fmla="*/ 1958645 w 3593592"/>
                <a:gd name="connsiteY55" fmla="*/ 3187582 h 5217566"/>
                <a:gd name="connsiteX56" fmla="*/ 1958645 w 3593592"/>
                <a:gd name="connsiteY56" fmla="*/ 4487859 h 5217566"/>
                <a:gd name="connsiteX57" fmla="*/ 1645900 w 3593592"/>
                <a:gd name="connsiteY57" fmla="*/ 4487859 h 5217566"/>
                <a:gd name="connsiteX58" fmla="*/ 543134 w 3593592"/>
                <a:gd name="connsiteY58" fmla="*/ 3187582 h 5217566"/>
                <a:gd name="connsiteX59" fmla="*/ 855878 w 3593592"/>
                <a:gd name="connsiteY59" fmla="*/ 3187582 h 5217566"/>
                <a:gd name="connsiteX60" fmla="*/ 855878 w 3593592"/>
                <a:gd name="connsiteY60" fmla="*/ 4487859 h 5217566"/>
                <a:gd name="connsiteX61" fmla="*/ 543134 w 3593592"/>
                <a:gd name="connsiteY61" fmla="*/ 4487859 h 5217566"/>
                <a:gd name="connsiteX62" fmla="*/ 3357657 w 3593592"/>
                <a:gd name="connsiteY62" fmla="*/ 4976148 h 5217566"/>
                <a:gd name="connsiteX63" fmla="*/ 241382 w 3593592"/>
                <a:gd name="connsiteY63" fmla="*/ 4976148 h 5217566"/>
                <a:gd name="connsiteX64" fmla="*/ 241382 w 3593592"/>
                <a:gd name="connsiteY64" fmla="*/ 4723754 h 5217566"/>
                <a:gd name="connsiteX65" fmla="*/ 3357657 w 3593592"/>
                <a:gd name="connsiteY65" fmla="*/ 4723754 h 5217566"/>
                <a:gd name="connsiteX66" fmla="*/ 3055895 w 3593592"/>
                <a:gd name="connsiteY66" fmla="*/ 4482353 h 5217566"/>
                <a:gd name="connsiteX67" fmla="*/ 2743151 w 3593592"/>
                <a:gd name="connsiteY67" fmla="*/ 4482353 h 5217566"/>
                <a:gd name="connsiteX68" fmla="*/ 2743189 w 3593592"/>
                <a:gd name="connsiteY68" fmla="*/ 3187562 h 5217566"/>
                <a:gd name="connsiteX69" fmla="*/ 3055934 w 3593592"/>
                <a:gd name="connsiteY69" fmla="*/ 3187562 h 5217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593592" h="5217566">
                  <a:moveTo>
                    <a:pt x="3472852" y="3187582"/>
                  </a:moveTo>
                  <a:cubicBezTo>
                    <a:pt x="3538677" y="3187582"/>
                    <a:pt x="3593553" y="3132702"/>
                    <a:pt x="3593553" y="3066881"/>
                  </a:cubicBezTo>
                  <a:lnTo>
                    <a:pt x="3593553" y="2578592"/>
                  </a:lnTo>
                  <a:cubicBezTo>
                    <a:pt x="3593553" y="2512766"/>
                    <a:pt x="3538673" y="2457891"/>
                    <a:pt x="3472852" y="2457891"/>
                  </a:cubicBezTo>
                  <a:lnTo>
                    <a:pt x="3258882" y="2457891"/>
                  </a:lnTo>
                  <a:cubicBezTo>
                    <a:pt x="3127199" y="1810515"/>
                    <a:pt x="2578559" y="1316719"/>
                    <a:pt x="1909228" y="1267342"/>
                  </a:cubicBezTo>
                  <a:lnTo>
                    <a:pt x="1909228" y="905230"/>
                  </a:lnTo>
                  <a:lnTo>
                    <a:pt x="2496293" y="905230"/>
                  </a:lnTo>
                  <a:cubicBezTo>
                    <a:pt x="2562117" y="905230"/>
                    <a:pt x="2616993" y="850350"/>
                    <a:pt x="2616993" y="784529"/>
                  </a:cubicBezTo>
                  <a:lnTo>
                    <a:pt x="2616993" y="263331"/>
                  </a:lnTo>
                  <a:cubicBezTo>
                    <a:pt x="2616993" y="197506"/>
                    <a:pt x="2562114" y="142630"/>
                    <a:pt x="2496293" y="142630"/>
                  </a:cubicBezTo>
                  <a:lnTo>
                    <a:pt x="1914744" y="142630"/>
                  </a:lnTo>
                  <a:lnTo>
                    <a:pt x="1914744" y="120701"/>
                  </a:lnTo>
                  <a:cubicBezTo>
                    <a:pt x="1914744" y="54876"/>
                    <a:pt x="1859864" y="0"/>
                    <a:pt x="1794043" y="0"/>
                  </a:cubicBezTo>
                  <a:cubicBezTo>
                    <a:pt x="1728222" y="0"/>
                    <a:pt x="1673342" y="54880"/>
                    <a:pt x="1673342" y="120701"/>
                  </a:cubicBezTo>
                  <a:lnTo>
                    <a:pt x="1673342" y="1267358"/>
                  </a:lnTo>
                  <a:cubicBezTo>
                    <a:pt x="1004001" y="1322238"/>
                    <a:pt x="455361" y="1815998"/>
                    <a:pt x="323688" y="2457907"/>
                  </a:cubicBezTo>
                  <a:lnTo>
                    <a:pt x="120701" y="2457907"/>
                  </a:lnTo>
                  <a:cubicBezTo>
                    <a:pt x="54876" y="2457907"/>
                    <a:pt x="0" y="2512787"/>
                    <a:pt x="0" y="2578608"/>
                  </a:cubicBezTo>
                  <a:lnTo>
                    <a:pt x="0" y="3066898"/>
                  </a:lnTo>
                  <a:cubicBezTo>
                    <a:pt x="0" y="3132723"/>
                    <a:pt x="54880" y="3187598"/>
                    <a:pt x="120701" y="3187598"/>
                  </a:cubicBezTo>
                  <a:lnTo>
                    <a:pt x="301752" y="3187598"/>
                  </a:lnTo>
                  <a:lnTo>
                    <a:pt x="301752" y="4487875"/>
                  </a:lnTo>
                  <a:lnTo>
                    <a:pt x="120701" y="4487875"/>
                  </a:lnTo>
                  <a:cubicBezTo>
                    <a:pt x="54876" y="4487875"/>
                    <a:pt x="0" y="4542755"/>
                    <a:pt x="0" y="4608576"/>
                  </a:cubicBezTo>
                  <a:lnTo>
                    <a:pt x="0" y="5096866"/>
                  </a:lnTo>
                  <a:cubicBezTo>
                    <a:pt x="0" y="5162691"/>
                    <a:pt x="54880" y="5217567"/>
                    <a:pt x="120701" y="5217567"/>
                  </a:cubicBezTo>
                  <a:lnTo>
                    <a:pt x="3472891" y="5217567"/>
                  </a:lnTo>
                  <a:cubicBezTo>
                    <a:pt x="3538717" y="5217567"/>
                    <a:pt x="3593592" y="5162687"/>
                    <a:pt x="3593592" y="5096866"/>
                  </a:cubicBezTo>
                  <a:lnTo>
                    <a:pt x="3593592" y="4608576"/>
                  </a:lnTo>
                  <a:cubicBezTo>
                    <a:pt x="3593592" y="4542751"/>
                    <a:pt x="3538712" y="4487875"/>
                    <a:pt x="3472891" y="4487875"/>
                  </a:cubicBezTo>
                  <a:lnTo>
                    <a:pt x="3291840" y="4487875"/>
                  </a:lnTo>
                  <a:lnTo>
                    <a:pt x="3291840" y="3187598"/>
                  </a:lnTo>
                  <a:close/>
                  <a:moveTo>
                    <a:pt x="2381058" y="378545"/>
                  </a:moveTo>
                  <a:lnTo>
                    <a:pt x="2381058" y="663848"/>
                  </a:lnTo>
                  <a:lnTo>
                    <a:pt x="1914695" y="663848"/>
                  </a:lnTo>
                  <a:lnTo>
                    <a:pt x="1914733" y="378545"/>
                  </a:lnTo>
                  <a:close/>
                  <a:moveTo>
                    <a:pt x="1794033" y="1497771"/>
                  </a:moveTo>
                  <a:cubicBezTo>
                    <a:pt x="2386564" y="1497771"/>
                    <a:pt x="2880340" y="1909251"/>
                    <a:pt x="3017500" y="2457891"/>
                  </a:cubicBezTo>
                  <a:lnTo>
                    <a:pt x="570566" y="2457891"/>
                  </a:lnTo>
                  <a:cubicBezTo>
                    <a:pt x="707726" y="1909251"/>
                    <a:pt x="1201522" y="1497771"/>
                    <a:pt x="1794033" y="1497771"/>
                  </a:cubicBezTo>
                  <a:close/>
                  <a:moveTo>
                    <a:pt x="241382" y="2693806"/>
                  </a:moveTo>
                  <a:lnTo>
                    <a:pt x="3357657" y="2693806"/>
                  </a:lnTo>
                  <a:lnTo>
                    <a:pt x="3357657" y="2946200"/>
                  </a:lnTo>
                  <a:lnTo>
                    <a:pt x="241382" y="2946162"/>
                  </a:lnTo>
                  <a:close/>
                  <a:moveTo>
                    <a:pt x="2194540" y="4482372"/>
                  </a:moveTo>
                  <a:lnTo>
                    <a:pt x="2194540" y="3187582"/>
                  </a:lnTo>
                  <a:lnTo>
                    <a:pt x="2507285" y="3187582"/>
                  </a:lnTo>
                  <a:lnTo>
                    <a:pt x="2507285" y="4487859"/>
                  </a:lnTo>
                  <a:lnTo>
                    <a:pt x="2194540" y="4487859"/>
                  </a:lnTo>
                  <a:close/>
                  <a:moveTo>
                    <a:pt x="1404489" y="3187582"/>
                  </a:moveTo>
                  <a:lnTo>
                    <a:pt x="1404489" y="4487859"/>
                  </a:lnTo>
                  <a:lnTo>
                    <a:pt x="1091745" y="4487859"/>
                  </a:lnTo>
                  <a:lnTo>
                    <a:pt x="1091783" y="3187582"/>
                  </a:lnTo>
                  <a:close/>
                  <a:moveTo>
                    <a:pt x="1645900" y="3187582"/>
                  </a:moveTo>
                  <a:lnTo>
                    <a:pt x="1958645" y="3187582"/>
                  </a:lnTo>
                  <a:lnTo>
                    <a:pt x="1958645" y="4487859"/>
                  </a:lnTo>
                  <a:lnTo>
                    <a:pt x="1645900" y="4487859"/>
                  </a:lnTo>
                  <a:close/>
                  <a:moveTo>
                    <a:pt x="543134" y="3187582"/>
                  </a:moveTo>
                  <a:lnTo>
                    <a:pt x="855878" y="3187582"/>
                  </a:lnTo>
                  <a:lnTo>
                    <a:pt x="855878" y="4487859"/>
                  </a:lnTo>
                  <a:lnTo>
                    <a:pt x="543134" y="4487859"/>
                  </a:lnTo>
                  <a:close/>
                  <a:moveTo>
                    <a:pt x="3357657" y="4976148"/>
                  </a:moveTo>
                  <a:lnTo>
                    <a:pt x="241382" y="4976148"/>
                  </a:lnTo>
                  <a:lnTo>
                    <a:pt x="241382" y="4723754"/>
                  </a:lnTo>
                  <a:lnTo>
                    <a:pt x="3357657" y="4723754"/>
                  </a:lnTo>
                  <a:close/>
                  <a:moveTo>
                    <a:pt x="3055895" y="4482353"/>
                  </a:moveTo>
                  <a:lnTo>
                    <a:pt x="2743151" y="4482353"/>
                  </a:lnTo>
                  <a:lnTo>
                    <a:pt x="2743189" y="3187562"/>
                  </a:lnTo>
                  <a:lnTo>
                    <a:pt x="3055934" y="3187562"/>
                  </a:lnTo>
                  <a:close/>
                </a:path>
              </a:pathLst>
            </a:custGeom>
            <a:solidFill>
              <a:schemeClr val="accent3"/>
            </a:solidFill>
            <a:ln w="9797" cap="flat">
              <a:noFill/>
              <a:prstDash val="solid"/>
              <a:miter/>
            </a:ln>
          </p:spPr>
          <p:txBody>
            <a:bodyPr rtlCol="0" anchor="ctr"/>
            <a:lstStyle/>
            <a:p>
              <a:endParaRPr lang="en-US">
                <a:solidFill>
                  <a:srgbClr val="FFFFFF"/>
                </a:solidFill>
                <a:latin typeface="EYInterstate Light" panose="02000506000000020004" pitchFamily="2" charset="0"/>
              </a:endParaRPr>
            </a:p>
          </p:txBody>
        </p:sp>
        <p:grpSp>
          <p:nvGrpSpPr>
            <p:cNvPr id="620" name="Group 619">
              <a:extLst>
                <a:ext uri="{FF2B5EF4-FFF2-40B4-BE49-F238E27FC236}">
                  <a16:creationId xmlns:a16="http://schemas.microsoft.com/office/drawing/2014/main" id="{585A3051-5324-30A1-F0E0-48FCC746842F}"/>
                </a:ext>
              </a:extLst>
            </p:cNvPr>
            <p:cNvGrpSpPr/>
            <p:nvPr/>
          </p:nvGrpSpPr>
          <p:grpSpPr>
            <a:xfrm>
              <a:off x="8314452" y="2774291"/>
              <a:ext cx="452510" cy="471754"/>
              <a:chOff x="3931715" y="2655323"/>
              <a:chExt cx="1113976" cy="1161350"/>
            </a:xfrm>
          </p:grpSpPr>
          <p:pic>
            <p:nvPicPr>
              <p:cNvPr id="689" name="Picture 688">
                <a:extLst>
                  <a:ext uri="{FF2B5EF4-FFF2-40B4-BE49-F238E27FC236}">
                    <a16:creationId xmlns:a16="http://schemas.microsoft.com/office/drawing/2014/main" id="{FACB451F-C740-8E68-2F95-43B09B640281}"/>
                  </a:ext>
                </a:extLst>
              </p:cNvPr>
              <p:cNvPicPr>
                <a:picLocks noChangeAspect="1"/>
              </p:cNvPicPr>
              <p:nvPr/>
            </p:nvPicPr>
            <p:blipFill>
              <a:blip r:embed="rId7"/>
              <a:stretch>
                <a:fillRect/>
              </a:stretch>
            </p:blipFill>
            <p:spPr>
              <a:xfrm>
                <a:off x="3931715" y="2655323"/>
                <a:ext cx="1113976" cy="1114463"/>
              </a:xfrm>
              <a:prstGeom prst="rect">
                <a:avLst/>
              </a:prstGeom>
            </p:spPr>
          </p:pic>
          <p:sp>
            <p:nvSpPr>
              <p:cNvPr id="690" name="Rectangle 689">
                <a:extLst>
                  <a:ext uri="{FF2B5EF4-FFF2-40B4-BE49-F238E27FC236}">
                    <a16:creationId xmlns:a16="http://schemas.microsoft.com/office/drawing/2014/main" id="{A05FFAC4-5EF3-C798-2524-20061071CDEA}"/>
                  </a:ext>
                </a:extLst>
              </p:cNvPr>
              <p:cNvSpPr/>
              <p:nvPr/>
            </p:nvSpPr>
            <p:spPr>
              <a:xfrm>
                <a:off x="4129183" y="3386053"/>
                <a:ext cx="160718" cy="124737"/>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91" name="Rectangle 690">
                <a:extLst>
                  <a:ext uri="{FF2B5EF4-FFF2-40B4-BE49-F238E27FC236}">
                    <a16:creationId xmlns:a16="http://schemas.microsoft.com/office/drawing/2014/main" id="{96B7D5FC-911A-9C7E-5344-14F33DA64A16}"/>
                  </a:ext>
                </a:extLst>
              </p:cNvPr>
              <p:cNvSpPr/>
              <p:nvPr/>
            </p:nvSpPr>
            <p:spPr>
              <a:xfrm>
                <a:off x="4413772" y="3386052"/>
                <a:ext cx="157724" cy="119561"/>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92" name="Rectangle 691">
                <a:extLst>
                  <a:ext uri="{FF2B5EF4-FFF2-40B4-BE49-F238E27FC236}">
                    <a16:creationId xmlns:a16="http://schemas.microsoft.com/office/drawing/2014/main" id="{CB3C6DC6-B206-0A1F-C9C5-DBF2828BCF6C}"/>
                  </a:ext>
                </a:extLst>
              </p:cNvPr>
              <p:cNvSpPr/>
              <p:nvPr/>
            </p:nvSpPr>
            <p:spPr>
              <a:xfrm>
                <a:off x="4689746" y="3381930"/>
                <a:ext cx="173221" cy="14049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93" name="Rectangle: Rounded Corners 692">
                <a:extLst>
                  <a:ext uri="{FF2B5EF4-FFF2-40B4-BE49-F238E27FC236}">
                    <a16:creationId xmlns:a16="http://schemas.microsoft.com/office/drawing/2014/main" id="{CA74F53B-4284-B9CE-B276-DD969213794F}"/>
                  </a:ext>
                </a:extLst>
              </p:cNvPr>
              <p:cNvSpPr/>
              <p:nvPr/>
            </p:nvSpPr>
            <p:spPr>
              <a:xfrm>
                <a:off x="3935251" y="3710911"/>
                <a:ext cx="1109936" cy="105762"/>
              </a:xfrm>
              <a:prstGeom prst="roundRect">
                <a:avLst>
                  <a:gd name="adj" fmla="val 16668"/>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621" name="Group 620">
              <a:extLst>
                <a:ext uri="{FF2B5EF4-FFF2-40B4-BE49-F238E27FC236}">
                  <a16:creationId xmlns:a16="http://schemas.microsoft.com/office/drawing/2014/main" id="{B1B15ADB-DC5A-D25D-9AA3-B7F89EB20FDA}"/>
                </a:ext>
              </a:extLst>
            </p:cNvPr>
            <p:cNvGrpSpPr/>
            <p:nvPr/>
          </p:nvGrpSpPr>
          <p:grpSpPr>
            <a:xfrm>
              <a:off x="9667574" y="3948822"/>
              <a:ext cx="875469" cy="506482"/>
              <a:chOff x="4122111" y="3784062"/>
              <a:chExt cx="1730086" cy="1000900"/>
            </a:xfrm>
          </p:grpSpPr>
          <p:pic>
            <p:nvPicPr>
              <p:cNvPr id="675" name="Picture 674">
                <a:extLst>
                  <a:ext uri="{FF2B5EF4-FFF2-40B4-BE49-F238E27FC236}">
                    <a16:creationId xmlns:a16="http://schemas.microsoft.com/office/drawing/2014/main" id="{C7BB9E84-D15A-C4E7-80F5-5132FA5997DB}"/>
                  </a:ext>
                </a:extLst>
              </p:cNvPr>
              <p:cNvPicPr>
                <a:picLocks noChangeAspect="1"/>
              </p:cNvPicPr>
              <p:nvPr/>
            </p:nvPicPr>
            <p:blipFill>
              <a:blip r:embed="rId8"/>
              <a:stretch>
                <a:fillRect/>
              </a:stretch>
            </p:blipFill>
            <p:spPr>
              <a:xfrm>
                <a:off x="4122111" y="3784062"/>
                <a:ext cx="1730086" cy="1000900"/>
              </a:xfrm>
              <a:prstGeom prst="rect">
                <a:avLst/>
              </a:prstGeom>
            </p:spPr>
          </p:pic>
          <p:grpSp>
            <p:nvGrpSpPr>
              <p:cNvPr id="676" name="Group 675">
                <a:extLst>
                  <a:ext uri="{FF2B5EF4-FFF2-40B4-BE49-F238E27FC236}">
                    <a16:creationId xmlns:a16="http://schemas.microsoft.com/office/drawing/2014/main" id="{81A1FCAF-CBFB-6007-C858-1E49EB14F22F}"/>
                  </a:ext>
                </a:extLst>
              </p:cNvPr>
              <p:cNvGrpSpPr/>
              <p:nvPr/>
            </p:nvGrpSpPr>
            <p:grpSpPr>
              <a:xfrm>
                <a:off x="4380472" y="3932410"/>
                <a:ext cx="841856" cy="502070"/>
                <a:chOff x="4380472" y="3932410"/>
                <a:chExt cx="841856" cy="502070"/>
              </a:xfrm>
            </p:grpSpPr>
            <p:sp>
              <p:nvSpPr>
                <p:cNvPr id="677" name="Rectangle 676">
                  <a:extLst>
                    <a:ext uri="{FF2B5EF4-FFF2-40B4-BE49-F238E27FC236}">
                      <a16:creationId xmlns:a16="http://schemas.microsoft.com/office/drawing/2014/main" id="{8FA8AA8A-0ECC-11AF-EC68-03653662F181}"/>
                    </a:ext>
                  </a:extLst>
                </p:cNvPr>
                <p:cNvSpPr/>
                <p:nvPr/>
              </p:nvSpPr>
              <p:spPr>
                <a:xfrm>
                  <a:off x="5109869" y="3932410"/>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8" name="Rectangle 677">
                  <a:extLst>
                    <a:ext uri="{FF2B5EF4-FFF2-40B4-BE49-F238E27FC236}">
                      <a16:creationId xmlns:a16="http://schemas.microsoft.com/office/drawing/2014/main" id="{CCD1AD9C-757C-209A-F240-8267C62EAC2C}"/>
                    </a:ext>
                  </a:extLst>
                </p:cNvPr>
                <p:cNvSpPr/>
                <p:nvPr/>
              </p:nvSpPr>
              <p:spPr>
                <a:xfrm>
                  <a:off x="4913218" y="3932410"/>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9" name="Rectangle 678">
                  <a:extLst>
                    <a:ext uri="{FF2B5EF4-FFF2-40B4-BE49-F238E27FC236}">
                      <a16:creationId xmlns:a16="http://schemas.microsoft.com/office/drawing/2014/main" id="{F2FCFE32-0C04-1E04-2A77-B5382640DC08}"/>
                    </a:ext>
                  </a:extLst>
                </p:cNvPr>
                <p:cNvSpPr/>
                <p:nvPr/>
              </p:nvSpPr>
              <p:spPr>
                <a:xfrm>
                  <a:off x="5109869" y="4141141"/>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0" name="Rectangle 679">
                  <a:extLst>
                    <a:ext uri="{FF2B5EF4-FFF2-40B4-BE49-F238E27FC236}">
                      <a16:creationId xmlns:a16="http://schemas.microsoft.com/office/drawing/2014/main" id="{145FE2F9-91D9-5A9F-6796-A0BB8EF1DA1B}"/>
                    </a:ext>
                  </a:extLst>
                </p:cNvPr>
                <p:cNvSpPr/>
                <p:nvPr/>
              </p:nvSpPr>
              <p:spPr>
                <a:xfrm>
                  <a:off x="4906742" y="4141141"/>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1" name="Rectangle 680">
                  <a:extLst>
                    <a:ext uri="{FF2B5EF4-FFF2-40B4-BE49-F238E27FC236}">
                      <a16:creationId xmlns:a16="http://schemas.microsoft.com/office/drawing/2014/main" id="{8CB5EB62-3FBF-6BC0-8A44-69EB8922D0AF}"/>
                    </a:ext>
                  </a:extLst>
                </p:cNvPr>
                <p:cNvSpPr/>
                <p:nvPr/>
              </p:nvSpPr>
              <p:spPr>
                <a:xfrm>
                  <a:off x="4708864" y="4141141"/>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2" name="Oval 681">
                  <a:extLst>
                    <a:ext uri="{FF2B5EF4-FFF2-40B4-BE49-F238E27FC236}">
                      <a16:creationId xmlns:a16="http://schemas.microsoft.com/office/drawing/2014/main" id="{DE5268B1-DB28-BC09-D49E-6E1F07FB2C5C}"/>
                    </a:ext>
                  </a:extLst>
                </p:cNvPr>
                <p:cNvSpPr/>
                <p:nvPr/>
              </p:nvSpPr>
              <p:spPr>
                <a:xfrm>
                  <a:off x="4380472"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3" name="Oval 682">
                  <a:extLst>
                    <a:ext uri="{FF2B5EF4-FFF2-40B4-BE49-F238E27FC236}">
                      <a16:creationId xmlns:a16="http://schemas.microsoft.com/office/drawing/2014/main" id="{837499A2-BD92-F667-44B9-16EF6C80EB17}"/>
                    </a:ext>
                  </a:extLst>
                </p:cNvPr>
                <p:cNvSpPr/>
                <p:nvPr/>
              </p:nvSpPr>
              <p:spPr>
                <a:xfrm>
                  <a:off x="4488009"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4" name="Oval 683">
                  <a:extLst>
                    <a:ext uri="{FF2B5EF4-FFF2-40B4-BE49-F238E27FC236}">
                      <a16:creationId xmlns:a16="http://schemas.microsoft.com/office/drawing/2014/main" id="{141A43B2-8538-699D-F688-6C8B30EE08E2}"/>
                    </a:ext>
                  </a:extLst>
                </p:cNvPr>
                <p:cNvSpPr/>
                <p:nvPr/>
              </p:nvSpPr>
              <p:spPr>
                <a:xfrm>
                  <a:off x="4595546"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5" name="Oval 684">
                  <a:extLst>
                    <a:ext uri="{FF2B5EF4-FFF2-40B4-BE49-F238E27FC236}">
                      <a16:creationId xmlns:a16="http://schemas.microsoft.com/office/drawing/2014/main" id="{E10FC2E9-E2B8-51AB-F2B3-5CA25156C47D}"/>
                    </a:ext>
                  </a:extLst>
                </p:cNvPr>
                <p:cNvSpPr/>
                <p:nvPr/>
              </p:nvSpPr>
              <p:spPr>
                <a:xfrm>
                  <a:off x="4703084" y="4388761"/>
                  <a:ext cx="45719" cy="45719"/>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6" name="Rectangle 685">
                  <a:extLst>
                    <a:ext uri="{FF2B5EF4-FFF2-40B4-BE49-F238E27FC236}">
                      <a16:creationId xmlns:a16="http://schemas.microsoft.com/office/drawing/2014/main" id="{9E9673E3-7650-D964-2998-DF3F94BB44D1}"/>
                    </a:ext>
                  </a:extLst>
                </p:cNvPr>
                <p:cNvSpPr/>
                <p:nvPr/>
              </p:nvSpPr>
              <p:spPr>
                <a:xfrm>
                  <a:off x="4708642" y="3932410"/>
                  <a:ext cx="112459" cy="11245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7" name="Rectangle 686">
                  <a:extLst>
                    <a:ext uri="{FF2B5EF4-FFF2-40B4-BE49-F238E27FC236}">
                      <a16:creationId xmlns:a16="http://schemas.microsoft.com/office/drawing/2014/main" id="{448313FE-CD3E-6204-F32A-4C42742E89C8}"/>
                    </a:ext>
                  </a:extLst>
                </p:cNvPr>
                <p:cNvSpPr/>
                <p:nvPr/>
              </p:nvSpPr>
              <p:spPr>
                <a:xfrm>
                  <a:off x="4510282" y="4227729"/>
                  <a:ext cx="45719" cy="4571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88" name="Rectangle 687">
                  <a:extLst>
                    <a:ext uri="{FF2B5EF4-FFF2-40B4-BE49-F238E27FC236}">
                      <a16:creationId xmlns:a16="http://schemas.microsoft.com/office/drawing/2014/main" id="{724F346A-6187-CF02-3C4B-643998859C4C}"/>
                    </a:ext>
                  </a:extLst>
                </p:cNvPr>
                <p:cNvSpPr/>
                <p:nvPr/>
              </p:nvSpPr>
              <p:spPr>
                <a:xfrm>
                  <a:off x="4400002" y="4227729"/>
                  <a:ext cx="45719" cy="45719"/>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grpSp>
          <p:nvGrpSpPr>
            <p:cNvPr id="622" name="Group 621">
              <a:extLst>
                <a:ext uri="{FF2B5EF4-FFF2-40B4-BE49-F238E27FC236}">
                  <a16:creationId xmlns:a16="http://schemas.microsoft.com/office/drawing/2014/main" id="{241124EA-06D5-DEC2-7093-E746D3AAEC34}"/>
                </a:ext>
              </a:extLst>
            </p:cNvPr>
            <p:cNvGrpSpPr/>
            <p:nvPr/>
          </p:nvGrpSpPr>
          <p:grpSpPr>
            <a:xfrm>
              <a:off x="9313263" y="5489934"/>
              <a:ext cx="673518" cy="453176"/>
              <a:chOff x="3906736" y="5182543"/>
              <a:chExt cx="2484125" cy="1671443"/>
            </a:xfrm>
          </p:grpSpPr>
          <p:pic>
            <p:nvPicPr>
              <p:cNvPr id="667" name="Picture 666">
                <a:extLst>
                  <a:ext uri="{FF2B5EF4-FFF2-40B4-BE49-F238E27FC236}">
                    <a16:creationId xmlns:a16="http://schemas.microsoft.com/office/drawing/2014/main" id="{44D4D92F-74CF-FBE9-9901-90ACB6D7CD45}"/>
                  </a:ext>
                </a:extLst>
              </p:cNvPr>
              <p:cNvPicPr>
                <a:picLocks noChangeAspect="1"/>
              </p:cNvPicPr>
              <p:nvPr/>
            </p:nvPicPr>
            <p:blipFill>
              <a:blip r:embed="rId9"/>
              <a:stretch>
                <a:fillRect/>
              </a:stretch>
            </p:blipFill>
            <p:spPr>
              <a:xfrm>
                <a:off x="3906736" y="5182543"/>
                <a:ext cx="2484125" cy="1671443"/>
              </a:xfrm>
              <a:prstGeom prst="rect">
                <a:avLst/>
              </a:prstGeom>
            </p:spPr>
          </p:pic>
          <p:sp>
            <p:nvSpPr>
              <p:cNvPr id="668" name="Rectangle 667">
                <a:extLst>
                  <a:ext uri="{FF2B5EF4-FFF2-40B4-BE49-F238E27FC236}">
                    <a16:creationId xmlns:a16="http://schemas.microsoft.com/office/drawing/2014/main" id="{3F68E157-E337-1F38-571C-5D2040BF8015}"/>
                  </a:ext>
                </a:extLst>
              </p:cNvPr>
              <p:cNvSpPr/>
              <p:nvPr/>
            </p:nvSpPr>
            <p:spPr>
              <a:xfrm>
                <a:off x="4616391" y="5302645"/>
                <a:ext cx="150508" cy="150508"/>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69" name="Rectangle 668">
                <a:extLst>
                  <a:ext uri="{FF2B5EF4-FFF2-40B4-BE49-F238E27FC236}">
                    <a16:creationId xmlns:a16="http://schemas.microsoft.com/office/drawing/2014/main" id="{5F8B6132-155E-52E3-71FA-D45FF1E5014B}"/>
                  </a:ext>
                </a:extLst>
              </p:cNvPr>
              <p:cNvSpPr/>
              <p:nvPr/>
            </p:nvSpPr>
            <p:spPr>
              <a:xfrm>
                <a:off x="5584214" y="5515316"/>
                <a:ext cx="150508" cy="150508"/>
              </a:xfrm>
              <a:prstGeom prst="rect">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0" name="Oval 669">
                <a:extLst>
                  <a:ext uri="{FF2B5EF4-FFF2-40B4-BE49-F238E27FC236}">
                    <a16:creationId xmlns:a16="http://schemas.microsoft.com/office/drawing/2014/main" id="{132B5ACA-3366-B155-5BC5-8BA75CFDB624}"/>
                  </a:ext>
                </a:extLst>
              </p:cNvPr>
              <p:cNvSpPr/>
              <p:nvPr/>
            </p:nvSpPr>
            <p:spPr>
              <a:xfrm>
                <a:off x="4205933" y="6360377"/>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1" name="Oval 670">
                <a:extLst>
                  <a:ext uri="{FF2B5EF4-FFF2-40B4-BE49-F238E27FC236}">
                    <a16:creationId xmlns:a16="http://schemas.microsoft.com/office/drawing/2014/main" id="{F6FDA8EA-CC41-2B13-DB94-D957867BF06C}"/>
                  </a:ext>
                </a:extLst>
              </p:cNvPr>
              <p:cNvSpPr/>
              <p:nvPr/>
            </p:nvSpPr>
            <p:spPr>
              <a:xfrm>
                <a:off x="4609104"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2" name="Oval 671">
                <a:extLst>
                  <a:ext uri="{FF2B5EF4-FFF2-40B4-BE49-F238E27FC236}">
                    <a16:creationId xmlns:a16="http://schemas.microsoft.com/office/drawing/2014/main" id="{1589E02F-5CD2-7B11-CFEB-EC701177F55C}"/>
                  </a:ext>
                </a:extLst>
              </p:cNvPr>
              <p:cNvSpPr/>
              <p:nvPr/>
            </p:nvSpPr>
            <p:spPr>
              <a:xfrm>
                <a:off x="5034498"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3" name="Oval 672">
                <a:extLst>
                  <a:ext uri="{FF2B5EF4-FFF2-40B4-BE49-F238E27FC236}">
                    <a16:creationId xmlns:a16="http://schemas.microsoft.com/office/drawing/2014/main" id="{354D3142-40CC-C90B-0EFE-21483DE2F365}"/>
                  </a:ext>
                </a:extLst>
              </p:cNvPr>
              <p:cNvSpPr/>
              <p:nvPr/>
            </p:nvSpPr>
            <p:spPr>
              <a:xfrm>
                <a:off x="5459892"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sp>
            <p:nvSpPr>
              <p:cNvPr id="674" name="Oval 673">
                <a:extLst>
                  <a:ext uri="{FF2B5EF4-FFF2-40B4-BE49-F238E27FC236}">
                    <a16:creationId xmlns:a16="http://schemas.microsoft.com/office/drawing/2014/main" id="{C323B094-B8BA-3361-FA55-BCA6376C4616}"/>
                  </a:ext>
                </a:extLst>
              </p:cNvPr>
              <p:cNvSpPr/>
              <p:nvPr/>
            </p:nvSpPr>
            <p:spPr>
              <a:xfrm>
                <a:off x="5870272" y="6376815"/>
                <a:ext cx="228600" cy="228023"/>
              </a:xfrm>
              <a:prstGeom prst="ellipse">
                <a:avLst/>
              </a:prstGeom>
              <a:solidFill>
                <a:srgbClr val="6E6F7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200" err="1">
                  <a:solidFill>
                    <a:srgbClr val="2E2E38"/>
                  </a:solidFill>
                  <a:latin typeface="EYInterstate Light" panose="02000506000000020004" pitchFamily="2" charset="0"/>
                </a:endParaRPr>
              </a:p>
            </p:txBody>
          </p:sp>
        </p:grpSp>
        <p:grpSp>
          <p:nvGrpSpPr>
            <p:cNvPr id="623" name="Group 622">
              <a:extLst>
                <a:ext uri="{FF2B5EF4-FFF2-40B4-BE49-F238E27FC236}">
                  <a16:creationId xmlns:a16="http://schemas.microsoft.com/office/drawing/2014/main" id="{280AB62C-B743-E284-2027-12B78A7E95BE}"/>
                </a:ext>
              </a:extLst>
            </p:cNvPr>
            <p:cNvGrpSpPr/>
            <p:nvPr/>
          </p:nvGrpSpPr>
          <p:grpSpPr>
            <a:xfrm>
              <a:off x="6722671" y="4030566"/>
              <a:ext cx="551980" cy="494780"/>
              <a:chOff x="590853" y="3563494"/>
              <a:chExt cx="973617" cy="872722"/>
            </a:xfrm>
          </p:grpSpPr>
          <p:sp>
            <p:nvSpPr>
              <p:cNvPr id="649" name="Freeform 76">
                <a:extLst>
                  <a:ext uri="{FF2B5EF4-FFF2-40B4-BE49-F238E27FC236}">
                    <a16:creationId xmlns:a16="http://schemas.microsoft.com/office/drawing/2014/main" id="{FC454B84-3742-B976-274D-E2B19F99E42A}"/>
                  </a:ext>
                </a:extLst>
              </p:cNvPr>
              <p:cNvSpPr>
                <a:spLocks noEditPoints="1"/>
              </p:cNvSpPr>
              <p:nvPr/>
            </p:nvSpPr>
            <p:spPr bwMode="auto">
              <a:xfrm>
                <a:off x="672424" y="3563494"/>
                <a:ext cx="808989" cy="377685"/>
              </a:xfrm>
              <a:custGeom>
                <a:avLst/>
                <a:gdLst>
                  <a:gd name="T0" fmla="*/ 694 w 694"/>
                  <a:gd name="T1" fmla="*/ 324 h 324"/>
                  <a:gd name="T2" fmla="*/ 0 w 694"/>
                  <a:gd name="T3" fmla="*/ 324 h 324"/>
                  <a:gd name="T4" fmla="*/ 0 w 694"/>
                  <a:gd name="T5" fmla="*/ 202 h 324"/>
                  <a:gd name="T6" fmla="*/ 346 w 694"/>
                  <a:gd name="T7" fmla="*/ 0 h 324"/>
                  <a:gd name="T8" fmla="*/ 694 w 694"/>
                  <a:gd name="T9" fmla="*/ 202 h 324"/>
                  <a:gd name="T10" fmla="*/ 694 w 694"/>
                  <a:gd name="T11" fmla="*/ 324 h 324"/>
                  <a:gd name="T12" fmla="*/ 18 w 694"/>
                  <a:gd name="T13" fmla="*/ 306 h 324"/>
                  <a:gd name="T14" fmla="*/ 676 w 694"/>
                  <a:gd name="T15" fmla="*/ 306 h 324"/>
                  <a:gd name="T16" fmla="*/ 676 w 694"/>
                  <a:gd name="T17" fmla="*/ 212 h 324"/>
                  <a:gd name="T18" fmla="*/ 346 w 694"/>
                  <a:gd name="T19" fmla="*/ 20 h 324"/>
                  <a:gd name="T20" fmla="*/ 18 w 694"/>
                  <a:gd name="T21" fmla="*/ 212 h 324"/>
                  <a:gd name="T22" fmla="*/ 18 w 694"/>
                  <a:gd name="T23" fmla="*/ 30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4" h="324">
                    <a:moveTo>
                      <a:pt x="694" y="324"/>
                    </a:moveTo>
                    <a:lnTo>
                      <a:pt x="0" y="324"/>
                    </a:lnTo>
                    <a:lnTo>
                      <a:pt x="0" y="202"/>
                    </a:lnTo>
                    <a:lnTo>
                      <a:pt x="346" y="0"/>
                    </a:lnTo>
                    <a:lnTo>
                      <a:pt x="694" y="202"/>
                    </a:lnTo>
                    <a:lnTo>
                      <a:pt x="694" y="324"/>
                    </a:lnTo>
                    <a:close/>
                    <a:moveTo>
                      <a:pt x="18" y="306"/>
                    </a:moveTo>
                    <a:lnTo>
                      <a:pt x="676" y="306"/>
                    </a:lnTo>
                    <a:lnTo>
                      <a:pt x="676" y="212"/>
                    </a:lnTo>
                    <a:lnTo>
                      <a:pt x="346" y="20"/>
                    </a:lnTo>
                    <a:lnTo>
                      <a:pt x="18" y="212"/>
                    </a:lnTo>
                    <a:lnTo>
                      <a:pt x="18" y="30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0" name="Freeform 77">
                <a:extLst>
                  <a:ext uri="{FF2B5EF4-FFF2-40B4-BE49-F238E27FC236}">
                    <a16:creationId xmlns:a16="http://schemas.microsoft.com/office/drawing/2014/main" id="{C8C150A7-7D51-7E83-2846-6E3CA8A2C1FE}"/>
                  </a:ext>
                </a:extLst>
              </p:cNvPr>
              <p:cNvSpPr>
                <a:spLocks noEditPoints="1"/>
              </p:cNvSpPr>
              <p:nvPr/>
            </p:nvSpPr>
            <p:spPr bwMode="auto">
              <a:xfrm>
                <a:off x="723715" y="4276898"/>
                <a:ext cx="191174" cy="72274"/>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1" name="Freeform 78">
                <a:extLst>
                  <a:ext uri="{FF2B5EF4-FFF2-40B4-BE49-F238E27FC236}">
                    <a16:creationId xmlns:a16="http://schemas.microsoft.com/office/drawing/2014/main" id="{6A5A5B6E-DEBA-372D-820D-760A01C278A3}"/>
                  </a:ext>
                </a:extLst>
              </p:cNvPr>
              <p:cNvSpPr>
                <a:spLocks noEditPoints="1"/>
              </p:cNvSpPr>
              <p:nvPr/>
            </p:nvSpPr>
            <p:spPr bwMode="auto">
              <a:xfrm>
                <a:off x="1236620" y="4276898"/>
                <a:ext cx="191174" cy="72274"/>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2" name="Freeform 79">
                <a:extLst>
                  <a:ext uri="{FF2B5EF4-FFF2-40B4-BE49-F238E27FC236}">
                    <a16:creationId xmlns:a16="http://schemas.microsoft.com/office/drawing/2014/main" id="{8B4B73B3-654E-4572-A705-09B0A2C765CA}"/>
                  </a:ext>
                </a:extLst>
              </p:cNvPr>
              <p:cNvSpPr>
                <a:spLocks noEditPoints="1"/>
              </p:cNvSpPr>
              <p:nvPr/>
            </p:nvSpPr>
            <p:spPr bwMode="auto">
              <a:xfrm>
                <a:off x="723715" y="3920196"/>
                <a:ext cx="191174" cy="74605"/>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3" name="Freeform 80">
                <a:extLst>
                  <a:ext uri="{FF2B5EF4-FFF2-40B4-BE49-F238E27FC236}">
                    <a16:creationId xmlns:a16="http://schemas.microsoft.com/office/drawing/2014/main" id="{ED811E5B-4782-4E2B-EA76-79A929E5E20C}"/>
                  </a:ext>
                </a:extLst>
              </p:cNvPr>
              <p:cNvSpPr>
                <a:spLocks noEditPoints="1"/>
              </p:cNvSpPr>
              <p:nvPr/>
            </p:nvSpPr>
            <p:spPr bwMode="auto">
              <a:xfrm>
                <a:off x="1236620" y="3920196"/>
                <a:ext cx="191174" cy="74605"/>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4" name="Freeform 81">
                <a:extLst>
                  <a:ext uri="{FF2B5EF4-FFF2-40B4-BE49-F238E27FC236}">
                    <a16:creationId xmlns:a16="http://schemas.microsoft.com/office/drawing/2014/main" id="{285BE08F-751C-2572-C96E-B2EB1FAEF645}"/>
                  </a:ext>
                </a:extLst>
              </p:cNvPr>
              <p:cNvSpPr>
                <a:spLocks noEditPoints="1"/>
              </p:cNvSpPr>
              <p:nvPr/>
            </p:nvSpPr>
            <p:spPr bwMode="auto">
              <a:xfrm>
                <a:off x="754022" y="3973818"/>
                <a:ext cx="132888" cy="324063"/>
              </a:xfrm>
              <a:custGeom>
                <a:avLst/>
                <a:gdLst>
                  <a:gd name="T0" fmla="*/ 114 w 114"/>
                  <a:gd name="T1" fmla="*/ 278 h 278"/>
                  <a:gd name="T2" fmla="*/ 0 w 114"/>
                  <a:gd name="T3" fmla="*/ 278 h 278"/>
                  <a:gd name="T4" fmla="*/ 0 w 114"/>
                  <a:gd name="T5" fmla="*/ 0 h 278"/>
                  <a:gd name="T6" fmla="*/ 114 w 114"/>
                  <a:gd name="T7" fmla="*/ 0 h 278"/>
                  <a:gd name="T8" fmla="*/ 114 w 114"/>
                  <a:gd name="T9" fmla="*/ 278 h 278"/>
                  <a:gd name="T10" fmla="*/ 18 w 114"/>
                  <a:gd name="T11" fmla="*/ 260 h 278"/>
                  <a:gd name="T12" fmla="*/ 96 w 114"/>
                  <a:gd name="T13" fmla="*/ 260 h 278"/>
                  <a:gd name="T14" fmla="*/ 96 w 114"/>
                  <a:gd name="T15" fmla="*/ 18 h 278"/>
                  <a:gd name="T16" fmla="*/ 18 w 114"/>
                  <a:gd name="T17" fmla="*/ 18 h 278"/>
                  <a:gd name="T18" fmla="*/ 18 w 114"/>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78">
                    <a:moveTo>
                      <a:pt x="114" y="278"/>
                    </a:moveTo>
                    <a:lnTo>
                      <a:pt x="0" y="278"/>
                    </a:lnTo>
                    <a:lnTo>
                      <a:pt x="0" y="0"/>
                    </a:lnTo>
                    <a:lnTo>
                      <a:pt x="114" y="0"/>
                    </a:lnTo>
                    <a:lnTo>
                      <a:pt x="114" y="278"/>
                    </a:lnTo>
                    <a:close/>
                    <a:moveTo>
                      <a:pt x="18" y="260"/>
                    </a:moveTo>
                    <a:lnTo>
                      <a:pt x="96" y="260"/>
                    </a:lnTo>
                    <a:lnTo>
                      <a:pt x="96" y="18"/>
                    </a:lnTo>
                    <a:lnTo>
                      <a:pt x="18" y="18"/>
                    </a:lnTo>
                    <a:lnTo>
                      <a:pt x="18" y="2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5" name="Freeform 82">
                <a:extLst>
                  <a:ext uri="{FF2B5EF4-FFF2-40B4-BE49-F238E27FC236}">
                    <a16:creationId xmlns:a16="http://schemas.microsoft.com/office/drawing/2014/main" id="{0C04DC50-CDE1-0D0D-3630-460B2D899747}"/>
                  </a:ext>
                </a:extLst>
              </p:cNvPr>
              <p:cNvSpPr>
                <a:spLocks noEditPoints="1"/>
              </p:cNvSpPr>
              <p:nvPr/>
            </p:nvSpPr>
            <p:spPr bwMode="auto">
              <a:xfrm>
                <a:off x="1266927" y="3973818"/>
                <a:ext cx="130556" cy="324063"/>
              </a:xfrm>
              <a:custGeom>
                <a:avLst/>
                <a:gdLst>
                  <a:gd name="T0" fmla="*/ 112 w 112"/>
                  <a:gd name="T1" fmla="*/ 278 h 278"/>
                  <a:gd name="T2" fmla="*/ 0 w 112"/>
                  <a:gd name="T3" fmla="*/ 278 h 278"/>
                  <a:gd name="T4" fmla="*/ 0 w 112"/>
                  <a:gd name="T5" fmla="*/ 0 h 278"/>
                  <a:gd name="T6" fmla="*/ 112 w 112"/>
                  <a:gd name="T7" fmla="*/ 0 h 278"/>
                  <a:gd name="T8" fmla="*/ 112 w 112"/>
                  <a:gd name="T9" fmla="*/ 278 h 278"/>
                  <a:gd name="T10" fmla="*/ 18 w 112"/>
                  <a:gd name="T11" fmla="*/ 260 h 278"/>
                  <a:gd name="T12" fmla="*/ 94 w 112"/>
                  <a:gd name="T13" fmla="*/ 260 h 278"/>
                  <a:gd name="T14" fmla="*/ 94 w 112"/>
                  <a:gd name="T15" fmla="*/ 18 h 278"/>
                  <a:gd name="T16" fmla="*/ 18 w 112"/>
                  <a:gd name="T17" fmla="*/ 18 h 278"/>
                  <a:gd name="T18" fmla="*/ 18 w 112"/>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278">
                    <a:moveTo>
                      <a:pt x="112" y="278"/>
                    </a:moveTo>
                    <a:lnTo>
                      <a:pt x="0" y="278"/>
                    </a:lnTo>
                    <a:lnTo>
                      <a:pt x="0" y="0"/>
                    </a:lnTo>
                    <a:lnTo>
                      <a:pt x="112" y="0"/>
                    </a:lnTo>
                    <a:lnTo>
                      <a:pt x="112" y="278"/>
                    </a:lnTo>
                    <a:close/>
                    <a:moveTo>
                      <a:pt x="18" y="260"/>
                    </a:moveTo>
                    <a:lnTo>
                      <a:pt x="94" y="260"/>
                    </a:lnTo>
                    <a:lnTo>
                      <a:pt x="94" y="18"/>
                    </a:lnTo>
                    <a:lnTo>
                      <a:pt x="18" y="18"/>
                    </a:lnTo>
                    <a:lnTo>
                      <a:pt x="18" y="2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6" name="Freeform 85">
                <a:extLst>
                  <a:ext uri="{FF2B5EF4-FFF2-40B4-BE49-F238E27FC236}">
                    <a16:creationId xmlns:a16="http://schemas.microsoft.com/office/drawing/2014/main" id="{6CB8D09A-252D-A79A-36F6-2CE2E0F35F9D}"/>
                  </a:ext>
                </a:extLst>
              </p:cNvPr>
              <p:cNvSpPr>
                <a:spLocks noEditPoints="1"/>
              </p:cNvSpPr>
              <p:nvPr/>
            </p:nvSpPr>
            <p:spPr bwMode="auto">
              <a:xfrm>
                <a:off x="980166" y="4276898"/>
                <a:ext cx="191174" cy="72274"/>
              </a:xfrm>
              <a:custGeom>
                <a:avLst/>
                <a:gdLst>
                  <a:gd name="T0" fmla="*/ 164 w 164"/>
                  <a:gd name="T1" fmla="*/ 62 h 62"/>
                  <a:gd name="T2" fmla="*/ 0 w 164"/>
                  <a:gd name="T3" fmla="*/ 62 h 62"/>
                  <a:gd name="T4" fmla="*/ 0 w 164"/>
                  <a:gd name="T5" fmla="*/ 0 h 62"/>
                  <a:gd name="T6" fmla="*/ 164 w 164"/>
                  <a:gd name="T7" fmla="*/ 0 h 62"/>
                  <a:gd name="T8" fmla="*/ 164 w 164"/>
                  <a:gd name="T9" fmla="*/ 62 h 62"/>
                  <a:gd name="T10" fmla="*/ 18 w 164"/>
                  <a:gd name="T11" fmla="*/ 44 h 62"/>
                  <a:gd name="T12" fmla="*/ 146 w 164"/>
                  <a:gd name="T13" fmla="*/ 44 h 62"/>
                  <a:gd name="T14" fmla="*/ 146 w 164"/>
                  <a:gd name="T15" fmla="*/ 18 h 62"/>
                  <a:gd name="T16" fmla="*/ 18 w 164"/>
                  <a:gd name="T17" fmla="*/ 18 h 62"/>
                  <a:gd name="T18" fmla="*/ 18 w 164"/>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2">
                    <a:moveTo>
                      <a:pt x="164" y="62"/>
                    </a:moveTo>
                    <a:lnTo>
                      <a:pt x="0" y="62"/>
                    </a:lnTo>
                    <a:lnTo>
                      <a:pt x="0" y="0"/>
                    </a:lnTo>
                    <a:lnTo>
                      <a:pt x="164" y="0"/>
                    </a:lnTo>
                    <a:lnTo>
                      <a:pt x="164" y="62"/>
                    </a:lnTo>
                    <a:close/>
                    <a:moveTo>
                      <a:pt x="18" y="44"/>
                    </a:moveTo>
                    <a:lnTo>
                      <a:pt x="146" y="44"/>
                    </a:lnTo>
                    <a:lnTo>
                      <a:pt x="146" y="18"/>
                    </a:lnTo>
                    <a:lnTo>
                      <a:pt x="18" y="18"/>
                    </a:lnTo>
                    <a:lnTo>
                      <a:pt x="18" y="4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7" name="Freeform 86">
                <a:extLst>
                  <a:ext uri="{FF2B5EF4-FFF2-40B4-BE49-F238E27FC236}">
                    <a16:creationId xmlns:a16="http://schemas.microsoft.com/office/drawing/2014/main" id="{C9CB9BA9-5601-EBE8-E7FC-CB9D791DB129}"/>
                  </a:ext>
                </a:extLst>
              </p:cNvPr>
              <p:cNvSpPr>
                <a:spLocks noEditPoints="1"/>
              </p:cNvSpPr>
              <p:nvPr/>
            </p:nvSpPr>
            <p:spPr bwMode="auto">
              <a:xfrm>
                <a:off x="980166" y="3920196"/>
                <a:ext cx="191174" cy="74605"/>
              </a:xfrm>
              <a:custGeom>
                <a:avLst/>
                <a:gdLst>
                  <a:gd name="T0" fmla="*/ 164 w 164"/>
                  <a:gd name="T1" fmla="*/ 64 h 64"/>
                  <a:gd name="T2" fmla="*/ 0 w 164"/>
                  <a:gd name="T3" fmla="*/ 64 h 64"/>
                  <a:gd name="T4" fmla="*/ 0 w 164"/>
                  <a:gd name="T5" fmla="*/ 0 h 64"/>
                  <a:gd name="T6" fmla="*/ 164 w 164"/>
                  <a:gd name="T7" fmla="*/ 0 h 64"/>
                  <a:gd name="T8" fmla="*/ 164 w 164"/>
                  <a:gd name="T9" fmla="*/ 64 h 64"/>
                  <a:gd name="T10" fmla="*/ 18 w 164"/>
                  <a:gd name="T11" fmla="*/ 46 h 64"/>
                  <a:gd name="T12" fmla="*/ 146 w 164"/>
                  <a:gd name="T13" fmla="*/ 46 h 64"/>
                  <a:gd name="T14" fmla="*/ 146 w 164"/>
                  <a:gd name="T15" fmla="*/ 18 h 64"/>
                  <a:gd name="T16" fmla="*/ 18 w 164"/>
                  <a:gd name="T17" fmla="*/ 18 h 64"/>
                  <a:gd name="T18" fmla="*/ 18 w 164"/>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64">
                    <a:moveTo>
                      <a:pt x="164" y="64"/>
                    </a:moveTo>
                    <a:lnTo>
                      <a:pt x="0" y="64"/>
                    </a:lnTo>
                    <a:lnTo>
                      <a:pt x="0" y="0"/>
                    </a:lnTo>
                    <a:lnTo>
                      <a:pt x="164" y="0"/>
                    </a:lnTo>
                    <a:lnTo>
                      <a:pt x="164" y="64"/>
                    </a:lnTo>
                    <a:close/>
                    <a:moveTo>
                      <a:pt x="18" y="46"/>
                    </a:moveTo>
                    <a:lnTo>
                      <a:pt x="146" y="46"/>
                    </a:lnTo>
                    <a:lnTo>
                      <a:pt x="146" y="18"/>
                    </a:lnTo>
                    <a:lnTo>
                      <a:pt x="18" y="18"/>
                    </a:lnTo>
                    <a:lnTo>
                      <a:pt x="18" y="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8" name="Freeform 87">
                <a:extLst>
                  <a:ext uri="{FF2B5EF4-FFF2-40B4-BE49-F238E27FC236}">
                    <a16:creationId xmlns:a16="http://schemas.microsoft.com/office/drawing/2014/main" id="{FDE828DF-A82B-8CEE-776C-E76EA788081F}"/>
                  </a:ext>
                </a:extLst>
              </p:cNvPr>
              <p:cNvSpPr>
                <a:spLocks noEditPoints="1"/>
              </p:cNvSpPr>
              <p:nvPr/>
            </p:nvSpPr>
            <p:spPr bwMode="auto">
              <a:xfrm>
                <a:off x="1010473" y="3973818"/>
                <a:ext cx="132888" cy="324063"/>
              </a:xfrm>
              <a:custGeom>
                <a:avLst/>
                <a:gdLst>
                  <a:gd name="T0" fmla="*/ 114 w 114"/>
                  <a:gd name="T1" fmla="*/ 278 h 278"/>
                  <a:gd name="T2" fmla="*/ 0 w 114"/>
                  <a:gd name="T3" fmla="*/ 278 h 278"/>
                  <a:gd name="T4" fmla="*/ 0 w 114"/>
                  <a:gd name="T5" fmla="*/ 0 h 278"/>
                  <a:gd name="T6" fmla="*/ 114 w 114"/>
                  <a:gd name="T7" fmla="*/ 0 h 278"/>
                  <a:gd name="T8" fmla="*/ 114 w 114"/>
                  <a:gd name="T9" fmla="*/ 278 h 278"/>
                  <a:gd name="T10" fmla="*/ 18 w 114"/>
                  <a:gd name="T11" fmla="*/ 260 h 278"/>
                  <a:gd name="T12" fmla="*/ 96 w 114"/>
                  <a:gd name="T13" fmla="*/ 260 h 278"/>
                  <a:gd name="T14" fmla="*/ 96 w 114"/>
                  <a:gd name="T15" fmla="*/ 18 h 278"/>
                  <a:gd name="T16" fmla="*/ 18 w 114"/>
                  <a:gd name="T17" fmla="*/ 18 h 278"/>
                  <a:gd name="T18" fmla="*/ 18 w 114"/>
                  <a:gd name="T19" fmla="*/ 2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78">
                    <a:moveTo>
                      <a:pt x="114" y="278"/>
                    </a:moveTo>
                    <a:lnTo>
                      <a:pt x="0" y="278"/>
                    </a:lnTo>
                    <a:lnTo>
                      <a:pt x="0" y="0"/>
                    </a:lnTo>
                    <a:lnTo>
                      <a:pt x="114" y="0"/>
                    </a:lnTo>
                    <a:lnTo>
                      <a:pt x="114" y="278"/>
                    </a:lnTo>
                    <a:close/>
                    <a:moveTo>
                      <a:pt x="18" y="260"/>
                    </a:moveTo>
                    <a:lnTo>
                      <a:pt x="96" y="260"/>
                    </a:lnTo>
                    <a:lnTo>
                      <a:pt x="96" y="18"/>
                    </a:lnTo>
                    <a:lnTo>
                      <a:pt x="18" y="18"/>
                    </a:lnTo>
                    <a:lnTo>
                      <a:pt x="18" y="2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59" name="Rectangle 89">
                <a:extLst>
                  <a:ext uri="{FF2B5EF4-FFF2-40B4-BE49-F238E27FC236}">
                    <a16:creationId xmlns:a16="http://schemas.microsoft.com/office/drawing/2014/main" id="{AE5DACEA-A1F1-0E62-4D19-A86BD9DCFEC4}"/>
                  </a:ext>
                </a:extLst>
              </p:cNvPr>
              <p:cNvSpPr>
                <a:spLocks noChangeArrowheads="1"/>
              </p:cNvSpPr>
              <p:nvPr/>
            </p:nvSpPr>
            <p:spPr bwMode="auto">
              <a:xfrm>
                <a:off x="615859" y="4328189"/>
                <a:ext cx="913902" cy="4580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0" name="Rectangle 90">
                <a:extLst>
                  <a:ext uri="{FF2B5EF4-FFF2-40B4-BE49-F238E27FC236}">
                    <a16:creationId xmlns:a16="http://schemas.microsoft.com/office/drawing/2014/main" id="{08A67E51-E910-B62B-BC93-7475AD317FF4}"/>
                  </a:ext>
                </a:extLst>
              </p:cNvPr>
              <p:cNvSpPr>
                <a:spLocks noChangeArrowheads="1"/>
              </p:cNvSpPr>
              <p:nvPr/>
            </p:nvSpPr>
            <p:spPr bwMode="auto">
              <a:xfrm>
                <a:off x="1213306" y="3782645"/>
                <a:ext cx="121232" cy="2098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1" name="Rectangle 91">
                <a:extLst>
                  <a:ext uri="{FF2B5EF4-FFF2-40B4-BE49-F238E27FC236}">
                    <a16:creationId xmlns:a16="http://schemas.microsoft.com/office/drawing/2014/main" id="{68415ADF-2321-BC63-B46E-F9C0E62CA601}"/>
                  </a:ext>
                </a:extLst>
              </p:cNvPr>
              <p:cNvSpPr>
                <a:spLocks noChangeArrowheads="1"/>
              </p:cNvSpPr>
              <p:nvPr/>
            </p:nvSpPr>
            <p:spPr bwMode="auto">
              <a:xfrm>
                <a:off x="819301" y="3782645"/>
                <a:ext cx="118900" cy="2098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2" name="Freeform 92">
                <a:extLst>
                  <a:ext uri="{FF2B5EF4-FFF2-40B4-BE49-F238E27FC236}">
                    <a16:creationId xmlns:a16="http://schemas.microsoft.com/office/drawing/2014/main" id="{60F80941-E339-76B7-0DC4-1C0413CE70AC}"/>
                  </a:ext>
                </a:extLst>
              </p:cNvPr>
              <p:cNvSpPr>
                <a:spLocks noEditPoints="1"/>
              </p:cNvSpPr>
              <p:nvPr/>
            </p:nvSpPr>
            <p:spPr bwMode="auto">
              <a:xfrm>
                <a:off x="989492" y="3705709"/>
                <a:ext cx="172522" cy="174854"/>
              </a:xfrm>
              <a:custGeom>
                <a:avLst/>
                <a:gdLst>
                  <a:gd name="T0" fmla="*/ 74 w 148"/>
                  <a:gd name="T1" fmla="*/ 150 h 150"/>
                  <a:gd name="T2" fmla="*/ 46 w 148"/>
                  <a:gd name="T3" fmla="*/ 144 h 150"/>
                  <a:gd name="T4" fmla="*/ 22 w 148"/>
                  <a:gd name="T5" fmla="*/ 128 h 150"/>
                  <a:gd name="T6" fmla="*/ 6 w 148"/>
                  <a:gd name="T7" fmla="*/ 104 h 150"/>
                  <a:gd name="T8" fmla="*/ 0 w 148"/>
                  <a:gd name="T9" fmla="*/ 76 h 150"/>
                  <a:gd name="T10" fmla="*/ 2 w 148"/>
                  <a:gd name="T11" fmla="*/ 60 h 150"/>
                  <a:gd name="T12" fmla="*/ 12 w 148"/>
                  <a:gd name="T13" fmla="*/ 34 h 150"/>
                  <a:gd name="T14" fmla="*/ 32 w 148"/>
                  <a:gd name="T15" fmla="*/ 14 h 150"/>
                  <a:gd name="T16" fmla="*/ 60 w 148"/>
                  <a:gd name="T17" fmla="*/ 2 h 150"/>
                  <a:gd name="T18" fmla="*/ 74 w 148"/>
                  <a:gd name="T19" fmla="*/ 0 h 150"/>
                  <a:gd name="T20" fmla="*/ 104 w 148"/>
                  <a:gd name="T21" fmla="*/ 6 h 150"/>
                  <a:gd name="T22" fmla="*/ 128 w 148"/>
                  <a:gd name="T23" fmla="*/ 22 h 150"/>
                  <a:gd name="T24" fmla="*/ 144 w 148"/>
                  <a:gd name="T25" fmla="*/ 46 h 150"/>
                  <a:gd name="T26" fmla="*/ 148 w 148"/>
                  <a:gd name="T27" fmla="*/ 76 h 150"/>
                  <a:gd name="T28" fmla="*/ 148 w 148"/>
                  <a:gd name="T29" fmla="*/ 90 h 150"/>
                  <a:gd name="T30" fmla="*/ 136 w 148"/>
                  <a:gd name="T31" fmla="*/ 116 h 150"/>
                  <a:gd name="T32" fmla="*/ 116 w 148"/>
                  <a:gd name="T33" fmla="*/ 136 h 150"/>
                  <a:gd name="T34" fmla="*/ 90 w 148"/>
                  <a:gd name="T35" fmla="*/ 148 h 150"/>
                  <a:gd name="T36" fmla="*/ 74 w 148"/>
                  <a:gd name="T37" fmla="*/ 150 h 150"/>
                  <a:gd name="T38" fmla="*/ 74 w 148"/>
                  <a:gd name="T39" fmla="*/ 18 h 150"/>
                  <a:gd name="T40" fmla="*/ 52 w 148"/>
                  <a:gd name="T41" fmla="*/ 24 h 150"/>
                  <a:gd name="T42" fmla="*/ 34 w 148"/>
                  <a:gd name="T43" fmla="*/ 36 h 150"/>
                  <a:gd name="T44" fmla="*/ 22 w 148"/>
                  <a:gd name="T45" fmla="*/ 54 h 150"/>
                  <a:gd name="T46" fmla="*/ 18 w 148"/>
                  <a:gd name="T47" fmla="*/ 76 h 150"/>
                  <a:gd name="T48" fmla="*/ 20 w 148"/>
                  <a:gd name="T49" fmla="*/ 86 h 150"/>
                  <a:gd name="T50" fmla="*/ 28 w 148"/>
                  <a:gd name="T51" fmla="*/ 106 h 150"/>
                  <a:gd name="T52" fmla="*/ 42 w 148"/>
                  <a:gd name="T53" fmla="*/ 122 h 150"/>
                  <a:gd name="T54" fmla="*/ 64 w 148"/>
                  <a:gd name="T55" fmla="*/ 130 h 150"/>
                  <a:gd name="T56" fmla="*/ 74 w 148"/>
                  <a:gd name="T57" fmla="*/ 132 h 150"/>
                  <a:gd name="T58" fmla="*/ 96 w 148"/>
                  <a:gd name="T59" fmla="*/ 128 h 150"/>
                  <a:gd name="T60" fmla="*/ 114 w 148"/>
                  <a:gd name="T61" fmla="*/ 116 h 150"/>
                  <a:gd name="T62" fmla="*/ 126 w 148"/>
                  <a:gd name="T63" fmla="*/ 98 h 150"/>
                  <a:gd name="T64" fmla="*/ 130 w 148"/>
                  <a:gd name="T65" fmla="*/ 76 h 150"/>
                  <a:gd name="T66" fmla="*/ 130 w 148"/>
                  <a:gd name="T67" fmla="*/ 64 h 150"/>
                  <a:gd name="T68" fmla="*/ 122 w 148"/>
                  <a:gd name="T69" fmla="*/ 44 h 150"/>
                  <a:gd name="T70" fmla="*/ 106 w 148"/>
                  <a:gd name="T71" fmla="*/ 28 h 150"/>
                  <a:gd name="T72" fmla="*/ 86 w 148"/>
                  <a:gd name="T73" fmla="*/ 20 h 150"/>
                  <a:gd name="T74" fmla="*/ 74 w 148"/>
                  <a:gd name="T75"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50">
                    <a:moveTo>
                      <a:pt x="74" y="150"/>
                    </a:moveTo>
                    <a:lnTo>
                      <a:pt x="74" y="150"/>
                    </a:lnTo>
                    <a:lnTo>
                      <a:pt x="60" y="148"/>
                    </a:lnTo>
                    <a:lnTo>
                      <a:pt x="46" y="144"/>
                    </a:lnTo>
                    <a:lnTo>
                      <a:pt x="32" y="136"/>
                    </a:lnTo>
                    <a:lnTo>
                      <a:pt x="22" y="128"/>
                    </a:lnTo>
                    <a:lnTo>
                      <a:pt x="12" y="116"/>
                    </a:lnTo>
                    <a:lnTo>
                      <a:pt x="6" y="104"/>
                    </a:lnTo>
                    <a:lnTo>
                      <a:pt x="2" y="90"/>
                    </a:lnTo>
                    <a:lnTo>
                      <a:pt x="0" y="76"/>
                    </a:lnTo>
                    <a:lnTo>
                      <a:pt x="0" y="76"/>
                    </a:lnTo>
                    <a:lnTo>
                      <a:pt x="2" y="60"/>
                    </a:lnTo>
                    <a:lnTo>
                      <a:pt x="6" y="46"/>
                    </a:lnTo>
                    <a:lnTo>
                      <a:pt x="12" y="34"/>
                    </a:lnTo>
                    <a:lnTo>
                      <a:pt x="22" y="22"/>
                    </a:lnTo>
                    <a:lnTo>
                      <a:pt x="32" y="14"/>
                    </a:lnTo>
                    <a:lnTo>
                      <a:pt x="46" y="6"/>
                    </a:lnTo>
                    <a:lnTo>
                      <a:pt x="60" y="2"/>
                    </a:lnTo>
                    <a:lnTo>
                      <a:pt x="74" y="0"/>
                    </a:lnTo>
                    <a:lnTo>
                      <a:pt x="74" y="0"/>
                    </a:lnTo>
                    <a:lnTo>
                      <a:pt x="90" y="2"/>
                    </a:lnTo>
                    <a:lnTo>
                      <a:pt x="104" y="6"/>
                    </a:lnTo>
                    <a:lnTo>
                      <a:pt x="116" y="14"/>
                    </a:lnTo>
                    <a:lnTo>
                      <a:pt x="128" y="22"/>
                    </a:lnTo>
                    <a:lnTo>
                      <a:pt x="136" y="34"/>
                    </a:lnTo>
                    <a:lnTo>
                      <a:pt x="144" y="46"/>
                    </a:lnTo>
                    <a:lnTo>
                      <a:pt x="148" y="60"/>
                    </a:lnTo>
                    <a:lnTo>
                      <a:pt x="148" y="76"/>
                    </a:lnTo>
                    <a:lnTo>
                      <a:pt x="148" y="76"/>
                    </a:lnTo>
                    <a:lnTo>
                      <a:pt x="148" y="90"/>
                    </a:lnTo>
                    <a:lnTo>
                      <a:pt x="144" y="104"/>
                    </a:lnTo>
                    <a:lnTo>
                      <a:pt x="136" y="116"/>
                    </a:lnTo>
                    <a:lnTo>
                      <a:pt x="128" y="128"/>
                    </a:lnTo>
                    <a:lnTo>
                      <a:pt x="116" y="136"/>
                    </a:lnTo>
                    <a:lnTo>
                      <a:pt x="104" y="144"/>
                    </a:lnTo>
                    <a:lnTo>
                      <a:pt x="90" y="148"/>
                    </a:lnTo>
                    <a:lnTo>
                      <a:pt x="74" y="150"/>
                    </a:lnTo>
                    <a:lnTo>
                      <a:pt x="74" y="150"/>
                    </a:lnTo>
                    <a:close/>
                    <a:moveTo>
                      <a:pt x="74" y="18"/>
                    </a:moveTo>
                    <a:lnTo>
                      <a:pt x="74" y="18"/>
                    </a:lnTo>
                    <a:lnTo>
                      <a:pt x="64" y="20"/>
                    </a:lnTo>
                    <a:lnTo>
                      <a:pt x="52" y="24"/>
                    </a:lnTo>
                    <a:lnTo>
                      <a:pt x="42" y="28"/>
                    </a:lnTo>
                    <a:lnTo>
                      <a:pt x="34" y="36"/>
                    </a:lnTo>
                    <a:lnTo>
                      <a:pt x="28" y="44"/>
                    </a:lnTo>
                    <a:lnTo>
                      <a:pt x="22" y="54"/>
                    </a:lnTo>
                    <a:lnTo>
                      <a:pt x="20" y="64"/>
                    </a:lnTo>
                    <a:lnTo>
                      <a:pt x="18" y="76"/>
                    </a:lnTo>
                    <a:lnTo>
                      <a:pt x="18" y="76"/>
                    </a:lnTo>
                    <a:lnTo>
                      <a:pt x="20" y="86"/>
                    </a:lnTo>
                    <a:lnTo>
                      <a:pt x="22" y="98"/>
                    </a:lnTo>
                    <a:lnTo>
                      <a:pt x="28" y="106"/>
                    </a:lnTo>
                    <a:lnTo>
                      <a:pt x="34" y="116"/>
                    </a:lnTo>
                    <a:lnTo>
                      <a:pt x="42" y="122"/>
                    </a:lnTo>
                    <a:lnTo>
                      <a:pt x="52" y="128"/>
                    </a:lnTo>
                    <a:lnTo>
                      <a:pt x="64" y="130"/>
                    </a:lnTo>
                    <a:lnTo>
                      <a:pt x="74" y="132"/>
                    </a:lnTo>
                    <a:lnTo>
                      <a:pt x="74" y="132"/>
                    </a:lnTo>
                    <a:lnTo>
                      <a:pt x="86" y="130"/>
                    </a:lnTo>
                    <a:lnTo>
                      <a:pt x="96" y="128"/>
                    </a:lnTo>
                    <a:lnTo>
                      <a:pt x="106" y="122"/>
                    </a:lnTo>
                    <a:lnTo>
                      <a:pt x="114" y="116"/>
                    </a:lnTo>
                    <a:lnTo>
                      <a:pt x="122" y="106"/>
                    </a:lnTo>
                    <a:lnTo>
                      <a:pt x="126" y="98"/>
                    </a:lnTo>
                    <a:lnTo>
                      <a:pt x="130" y="86"/>
                    </a:lnTo>
                    <a:lnTo>
                      <a:pt x="130" y="76"/>
                    </a:lnTo>
                    <a:lnTo>
                      <a:pt x="130" y="76"/>
                    </a:lnTo>
                    <a:lnTo>
                      <a:pt x="130" y="64"/>
                    </a:lnTo>
                    <a:lnTo>
                      <a:pt x="126" y="54"/>
                    </a:lnTo>
                    <a:lnTo>
                      <a:pt x="122" y="44"/>
                    </a:lnTo>
                    <a:lnTo>
                      <a:pt x="114" y="36"/>
                    </a:lnTo>
                    <a:lnTo>
                      <a:pt x="106" y="28"/>
                    </a:lnTo>
                    <a:lnTo>
                      <a:pt x="96" y="24"/>
                    </a:lnTo>
                    <a:lnTo>
                      <a:pt x="86" y="20"/>
                    </a:lnTo>
                    <a:lnTo>
                      <a:pt x="74" y="18"/>
                    </a:lnTo>
                    <a:lnTo>
                      <a:pt x="74"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3" name="Rectangle 90">
                <a:extLst>
                  <a:ext uri="{FF2B5EF4-FFF2-40B4-BE49-F238E27FC236}">
                    <a16:creationId xmlns:a16="http://schemas.microsoft.com/office/drawing/2014/main" id="{4997FF7F-09C5-832E-5613-EA12943EA06C}"/>
                  </a:ext>
                </a:extLst>
              </p:cNvPr>
              <p:cNvSpPr>
                <a:spLocks noChangeArrowheads="1"/>
              </p:cNvSpPr>
              <p:nvPr/>
            </p:nvSpPr>
            <p:spPr bwMode="auto">
              <a:xfrm rot="5400000">
                <a:off x="1188133" y="4075186"/>
                <a:ext cx="296642" cy="1125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4" name="Rectangle 90">
                <a:extLst>
                  <a:ext uri="{FF2B5EF4-FFF2-40B4-BE49-F238E27FC236}">
                    <a16:creationId xmlns:a16="http://schemas.microsoft.com/office/drawing/2014/main" id="{C05B4160-D788-034B-6942-40BE48C0F042}"/>
                  </a:ext>
                </a:extLst>
              </p:cNvPr>
              <p:cNvSpPr>
                <a:spLocks noChangeArrowheads="1"/>
              </p:cNvSpPr>
              <p:nvPr/>
            </p:nvSpPr>
            <p:spPr bwMode="auto">
              <a:xfrm rot="5400000">
                <a:off x="932246" y="4079571"/>
                <a:ext cx="296642" cy="1125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5" name="Rectangle 90">
                <a:extLst>
                  <a:ext uri="{FF2B5EF4-FFF2-40B4-BE49-F238E27FC236}">
                    <a16:creationId xmlns:a16="http://schemas.microsoft.com/office/drawing/2014/main" id="{6C59E55B-4395-7E5F-7736-EAEF6F9FA6D4}"/>
                  </a:ext>
                </a:extLst>
              </p:cNvPr>
              <p:cNvSpPr>
                <a:spLocks noChangeArrowheads="1"/>
              </p:cNvSpPr>
              <p:nvPr/>
            </p:nvSpPr>
            <p:spPr bwMode="auto">
              <a:xfrm rot="5400000">
                <a:off x="672120" y="4080595"/>
                <a:ext cx="296642" cy="1125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sp>
            <p:nvSpPr>
              <p:cNvPr id="666" name="Rectangle 89">
                <a:extLst>
                  <a:ext uri="{FF2B5EF4-FFF2-40B4-BE49-F238E27FC236}">
                    <a16:creationId xmlns:a16="http://schemas.microsoft.com/office/drawing/2014/main" id="{7F876387-6311-5EDF-0A08-E0CB92C6DAA7}"/>
                  </a:ext>
                </a:extLst>
              </p:cNvPr>
              <p:cNvSpPr>
                <a:spLocks noChangeArrowheads="1"/>
              </p:cNvSpPr>
              <p:nvPr/>
            </p:nvSpPr>
            <p:spPr bwMode="auto">
              <a:xfrm>
                <a:off x="590853" y="4382726"/>
                <a:ext cx="973617" cy="5349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EYInterstate Light" panose="02000506000000020004" pitchFamily="2" charset="0"/>
                </a:endParaRPr>
              </a:p>
            </p:txBody>
          </p:sp>
        </p:grpSp>
        <p:grpSp>
          <p:nvGrpSpPr>
            <p:cNvPr id="624" name="Group 623">
              <a:extLst>
                <a:ext uri="{FF2B5EF4-FFF2-40B4-BE49-F238E27FC236}">
                  <a16:creationId xmlns:a16="http://schemas.microsoft.com/office/drawing/2014/main" id="{5308C3B4-C50E-83E7-BAEC-4BA991CD76C9}"/>
                </a:ext>
              </a:extLst>
            </p:cNvPr>
            <p:cNvGrpSpPr/>
            <p:nvPr/>
          </p:nvGrpSpPr>
          <p:grpSpPr>
            <a:xfrm>
              <a:off x="8768880" y="5024530"/>
              <a:ext cx="352373" cy="352373"/>
              <a:chOff x="8768880" y="5024530"/>
              <a:chExt cx="352373" cy="352373"/>
            </a:xfrm>
          </p:grpSpPr>
          <p:sp>
            <p:nvSpPr>
              <p:cNvPr id="645" name="Oval 644">
                <a:extLst>
                  <a:ext uri="{FF2B5EF4-FFF2-40B4-BE49-F238E27FC236}">
                    <a16:creationId xmlns:a16="http://schemas.microsoft.com/office/drawing/2014/main" id="{7E6D81B9-151C-3073-1AAF-FBC51F00A413}"/>
                  </a:ext>
                </a:extLst>
              </p:cNvPr>
              <p:cNvSpPr/>
              <p:nvPr/>
            </p:nvSpPr>
            <p:spPr>
              <a:xfrm>
                <a:off x="8768880" y="5024530"/>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646" name="Group 645">
                <a:extLst>
                  <a:ext uri="{FF2B5EF4-FFF2-40B4-BE49-F238E27FC236}">
                    <a16:creationId xmlns:a16="http://schemas.microsoft.com/office/drawing/2014/main" id="{75436A31-5995-2F16-0815-09C973C56E96}"/>
                  </a:ext>
                </a:extLst>
              </p:cNvPr>
              <p:cNvGrpSpPr/>
              <p:nvPr/>
            </p:nvGrpSpPr>
            <p:grpSpPr>
              <a:xfrm>
                <a:off x="8857345" y="5059039"/>
                <a:ext cx="181640" cy="264389"/>
                <a:chOff x="2746376" y="2461408"/>
                <a:chExt cx="1104950" cy="1608332"/>
              </a:xfrm>
            </p:grpSpPr>
            <p:sp>
              <p:nvSpPr>
                <p:cNvPr id="647" name="Freeform 25">
                  <a:extLst>
                    <a:ext uri="{FF2B5EF4-FFF2-40B4-BE49-F238E27FC236}">
                      <a16:creationId xmlns:a16="http://schemas.microsoft.com/office/drawing/2014/main" id="{5D6DC84C-4797-BE2C-4090-F98D58BDED49}"/>
                    </a:ext>
                  </a:extLst>
                </p:cNvPr>
                <p:cNvSpPr>
                  <a:spLocks/>
                </p:cNvSpPr>
                <p:nvPr/>
              </p:nvSpPr>
              <p:spPr bwMode="auto">
                <a:xfrm>
                  <a:off x="2746376" y="2602188"/>
                  <a:ext cx="1104950" cy="1467552"/>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solidFill>
                    <a:schemeClr val="tx2">
                      <a:lumMod val="50000"/>
                    </a:schemeClr>
                  </a:solid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48" name="Freeform 26">
                  <a:extLst>
                    <a:ext uri="{FF2B5EF4-FFF2-40B4-BE49-F238E27FC236}">
                      <a16:creationId xmlns:a16="http://schemas.microsoft.com/office/drawing/2014/main" id="{39815082-1B9E-48B5-E0FE-73FB4273EC62}"/>
                    </a:ext>
                  </a:extLst>
                </p:cNvPr>
                <p:cNvSpPr>
                  <a:spLocks noEditPoints="1"/>
                </p:cNvSpPr>
                <p:nvPr/>
              </p:nvSpPr>
              <p:spPr bwMode="auto">
                <a:xfrm>
                  <a:off x="2918187" y="2461408"/>
                  <a:ext cx="761332" cy="1386974"/>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grpSp>
        <p:grpSp>
          <p:nvGrpSpPr>
            <p:cNvPr id="625" name="Group 624">
              <a:extLst>
                <a:ext uri="{FF2B5EF4-FFF2-40B4-BE49-F238E27FC236}">
                  <a16:creationId xmlns:a16="http://schemas.microsoft.com/office/drawing/2014/main" id="{BC8BE258-3142-284D-28ED-7056DC523A4F}"/>
                </a:ext>
              </a:extLst>
            </p:cNvPr>
            <p:cNvGrpSpPr/>
            <p:nvPr/>
          </p:nvGrpSpPr>
          <p:grpSpPr>
            <a:xfrm>
              <a:off x="7778837" y="5024530"/>
              <a:ext cx="352373" cy="352373"/>
              <a:chOff x="8768880" y="5024530"/>
              <a:chExt cx="352373" cy="352373"/>
            </a:xfrm>
          </p:grpSpPr>
          <p:sp>
            <p:nvSpPr>
              <p:cNvPr id="641" name="Oval 640">
                <a:extLst>
                  <a:ext uri="{FF2B5EF4-FFF2-40B4-BE49-F238E27FC236}">
                    <a16:creationId xmlns:a16="http://schemas.microsoft.com/office/drawing/2014/main" id="{31CDAEE5-7019-E7E4-D2F8-B9FE163BBB52}"/>
                  </a:ext>
                </a:extLst>
              </p:cNvPr>
              <p:cNvSpPr/>
              <p:nvPr/>
            </p:nvSpPr>
            <p:spPr>
              <a:xfrm>
                <a:off x="8768880" y="5024530"/>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642" name="Group 641">
                <a:extLst>
                  <a:ext uri="{FF2B5EF4-FFF2-40B4-BE49-F238E27FC236}">
                    <a16:creationId xmlns:a16="http://schemas.microsoft.com/office/drawing/2014/main" id="{C161DD94-0083-81B4-E960-FB1F86FEE828}"/>
                  </a:ext>
                </a:extLst>
              </p:cNvPr>
              <p:cNvGrpSpPr/>
              <p:nvPr/>
            </p:nvGrpSpPr>
            <p:grpSpPr>
              <a:xfrm>
                <a:off x="8857345" y="5059039"/>
                <a:ext cx="181640" cy="264389"/>
                <a:chOff x="2746376" y="2461408"/>
                <a:chExt cx="1104950" cy="1608332"/>
              </a:xfrm>
            </p:grpSpPr>
            <p:sp>
              <p:nvSpPr>
                <p:cNvPr id="643" name="Freeform 25">
                  <a:extLst>
                    <a:ext uri="{FF2B5EF4-FFF2-40B4-BE49-F238E27FC236}">
                      <a16:creationId xmlns:a16="http://schemas.microsoft.com/office/drawing/2014/main" id="{E9E49F0E-DB88-7B6D-7A28-D0D688771E1E}"/>
                    </a:ext>
                  </a:extLst>
                </p:cNvPr>
                <p:cNvSpPr>
                  <a:spLocks/>
                </p:cNvSpPr>
                <p:nvPr/>
              </p:nvSpPr>
              <p:spPr bwMode="auto">
                <a:xfrm>
                  <a:off x="2746376" y="2602188"/>
                  <a:ext cx="1104950" cy="1467552"/>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solidFill>
                    <a:schemeClr val="tx2">
                      <a:lumMod val="50000"/>
                    </a:schemeClr>
                  </a:solid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44" name="Freeform 26">
                  <a:extLst>
                    <a:ext uri="{FF2B5EF4-FFF2-40B4-BE49-F238E27FC236}">
                      <a16:creationId xmlns:a16="http://schemas.microsoft.com/office/drawing/2014/main" id="{1602CB81-19AF-0F8E-021B-7D2C0831D920}"/>
                    </a:ext>
                  </a:extLst>
                </p:cNvPr>
                <p:cNvSpPr>
                  <a:spLocks noEditPoints="1"/>
                </p:cNvSpPr>
                <p:nvPr/>
              </p:nvSpPr>
              <p:spPr bwMode="auto">
                <a:xfrm>
                  <a:off x="2918187" y="2461408"/>
                  <a:ext cx="761332" cy="1386974"/>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grpSp>
        <p:grpSp>
          <p:nvGrpSpPr>
            <p:cNvPr id="626" name="Group 625">
              <a:extLst>
                <a:ext uri="{FF2B5EF4-FFF2-40B4-BE49-F238E27FC236}">
                  <a16:creationId xmlns:a16="http://schemas.microsoft.com/office/drawing/2014/main" id="{56E84B4A-9B29-22CC-43A4-C2DBC968FBDB}"/>
                </a:ext>
              </a:extLst>
            </p:cNvPr>
            <p:cNvGrpSpPr/>
            <p:nvPr/>
          </p:nvGrpSpPr>
          <p:grpSpPr>
            <a:xfrm>
              <a:off x="7468717" y="4010181"/>
              <a:ext cx="352373" cy="352373"/>
              <a:chOff x="8768880" y="5024530"/>
              <a:chExt cx="352373" cy="352373"/>
            </a:xfrm>
          </p:grpSpPr>
          <p:sp>
            <p:nvSpPr>
              <p:cNvPr id="637" name="Oval 636">
                <a:extLst>
                  <a:ext uri="{FF2B5EF4-FFF2-40B4-BE49-F238E27FC236}">
                    <a16:creationId xmlns:a16="http://schemas.microsoft.com/office/drawing/2014/main" id="{8A3FF291-F8CF-6F1E-F43A-1B45ACD5A76D}"/>
                  </a:ext>
                </a:extLst>
              </p:cNvPr>
              <p:cNvSpPr/>
              <p:nvPr/>
            </p:nvSpPr>
            <p:spPr>
              <a:xfrm>
                <a:off x="8768880" y="5024530"/>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638" name="Group 637">
                <a:extLst>
                  <a:ext uri="{FF2B5EF4-FFF2-40B4-BE49-F238E27FC236}">
                    <a16:creationId xmlns:a16="http://schemas.microsoft.com/office/drawing/2014/main" id="{62BCE24D-149D-7E58-CC68-B4B4B2247DC0}"/>
                  </a:ext>
                </a:extLst>
              </p:cNvPr>
              <p:cNvGrpSpPr/>
              <p:nvPr/>
            </p:nvGrpSpPr>
            <p:grpSpPr>
              <a:xfrm>
                <a:off x="8857345" y="5059039"/>
                <a:ext cx="181640" cy="264389"/>
                <a:chOff x="2746376" y="2461408"/>
                <a:chExt cx="1104950" cy="1608332"/>
              </a:xfrm>
            </p:grpSpPr>
            <p:sp>
              <p:nvSpPr>
                <p:cNvPr id="639" name="Freeform 25">
                  <a:extLst>
                    <a:ext uri="{FF2B5EF4-FFF2-40B4-BE49-F238E27FC236}">
                      <a16:creationId xmlns:a16="http://schemas.microsoft.com/office/drawing/2014/main" id="{C7CD9455-488F-41FF-9C48-0318AC8608A8}"/>
                    </a:ext>
                  </a:extLst>
                </p:cNvPr>
                <p:cNvSpPr>
                  <a:spLocks/>
                </p:cNvSpPr>
                <p:nvPr/>
              </p:nvSpPr>
              <p:spPr bwMode="auto">
                <a:xfrm>
                  <a:off x="2746376" y="2602188"/>
                  <a:ext cx="1104950" cy="1467552"/>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solidFill>
                    <a:schemeClr val="tx2">
                      <a:lumMod val="50000"/>
                    </a:schemeClr>
                  </a:solid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40" name="Freeform 26">
                  <a:extLst>
                    <a:ext uri="{FF2B5EF4-FFF2-40B4-BE49-F238E27FC236}">
                      <a16:creationId xmlns:a16="http://schemas.microsoft.com/office/drawing/2014/main" id="{8D8C2113-6598-E207-155F-53C7EA60684B}"/>
                    </a:ext>
                  </a:extLst>
                </p:cNvPr>
                <p:cNvSpPr>
                  <a:spLocks noEditPoints="1"/>
                </p:cNvSpPr>
                <p:nvPr/>
              </p:nvSpPr>
              <p:spPr bwMode="auto">
                <a:xfrm>
                  <a:off x="2918187" y="2461408"/>
                  <a:ext cx="761332" cy="1386974"/>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grpSp>
        <p:grpSp>
          <p:nvGrpSpPr>
            <p:cNvPr id="627" name="Group 626">
              <a:extLst>
                <a:ext uri="{FF2B5EF4-FFF2-40B4-BE49-F238E27FC236}">
                  <a16:creationId xmlns:a16="http://schemas.microsoft.com/office/drawing/2014/main" id="{10A1415F-DF6B-70B8-A211-2D1DA4851DB0}"/>
                </a:ext>
              </a:extLst>
            </p:cNvPr>
            <p:cNvGrpSpPr/>
            <p:nvPr/>
          </p:nvGrpSpPr>
          <p:grpSpPr>
            <a:xfrm>
              <a:off x="9068352" y="4010181"/>
              <a:ext cx="352373" cy="352373"/>
              <a:chOff x="8768880" y="5024530"/>
              <a:chExt cx="352373" cy="352373"/>
            </a:xfrm>
          </p:grpSpPr>
          <p:sp>
            <p:nvSpPr>
              <p:cNvPr id="633" name="Oval 632">
                <a:extLst>
                  <a:ext uri="{FF2B5EF4-FFF2-40B4-BE49-F238E27FC236}">
                    <a16:creationId xmlns:a16="http://schemas.microsoft.com/office/drawing/2014/main" id="{E1258904-5CCE-0DA5-80F6-B104E34A026B}"/>
                  </a:ext>
                </a:extLst>
              </p:cNvPr>
              <p:cNvSpPr/>
              <p:nvPr/>
            </p:nvSpPr>
            <p:spPr>
              <a:xfrm>
                <a:off x="8768880" y="5024530"/>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634" name="Group 633">
                <a:extLst>
                  <a:ext uri="{FF2B5EF4-FFF2-40B4-BE49-F238E27FC236}">
                    <a16:creationId xmlns:a16="http://schemas.microsoft.com/office/drawing/2014/main" id="{C8C8CF5C-780C-99AD-F405-2157CC04071B}"/>
                  </a:ext>
                </a:extLst>
              </p:cNvPr>
              <p:cNvGrpSpPr/>
              <p:nvPr/>
            </p:nvGrpSpPr>
            <p:grpSpPr>
              <a:xfrm>
                <a:off x="8857345" y="5059039"/>
                <a:ext cx="181640" cy="264389"/>
                <a:chOff x="2746376" y="2461408"/>
                <a:chExt cx="1104950" cy="1608332"/>
              </a:xfrm>
            </p:grpSpPr>
            <p:sp>
              <p:nvSpPr>
                <p:cNvPr id="635" name="Freeform 25">
                  <a:extLst>
                    <a:ext uri="{FF2B5EF4-FFF2-40B4-BE49-F238E27FC236}">
                      <a16:creationId xmlns:a16="http://schemas.microsoft.com/office/drawing/2014/main" id="{472FBCA6-1C24-5C5D-A7B7-DAB3C3EEE66A}"/>
                    </a:ext>
                  </a:extLst>
                </p:cNvPr>
                <p:cNvSpPr>
                  <a:spLocks/>
                </p:cNvSpPr>
                <p:nvPr/>
              </p:nvSpPr>
              <p:spPr bwMode="auto">
                <a:xfrm>
                  <a:off x="2746376" y="2602188"/>
                  <a:ext cx="1104950" cy="1467552"/>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solidFill>
                    <a:schemeClr val="tx2">
                      <a:lumMod val="50000"/>
                    </a:schemeClr>
                  </a:solid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36" name="Freeform 26">
                  <a:extLst>
                    <a:ext uri="{FF2B5EF4-FFF2-40B4-BE49-F238E27FC236}">
                      <a16:creationId xmlns:a16="http://schemas.microsoft.com/office/drawing/2014/main" id="{CE1AEB2C-1A52-2BBD-8561-FB3CA93D79EA}"/>
                    </a:ext>
                  </a:extLst>
                </p:cNvPr>
                <p:cNvSpPr>
                  <a:spLocks noEditPoints="1"/>
                </p:cNvSpPr>
                <p:nvPr/>
              </p:nvSpPr>
              <p:spPr bwMode="auto">
                <a:xfrm>
                  <a:off x="2918187" y="2461408"/>
                  <a:ext cx="761332" cy="1386974"/>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grpSp>
        <p:grpSp>
          <p:nvGrpSpPr>
            <p:cNvPr id="628" name="Group 627">
              <a:extLst>
                <a:ext uri="{FF2B5EF4-FFF2-40B4-BE49-F238E27FC236}">
                  <a16:creationId xmlns:a16="http://schemas.microsoft.com/office/drawing/2014/main" id="{63F6D567-7EA3-E822-2713-634B11397AF3}"/>
                </a:ext>
              </a:extLst>
            </p:cNvPr>
            <p:cNvGrpSpPr/>
            <p:nvPr/>
          </p:nvGrpSpPr>
          <p:grpSpPr>
            <a:xfrm>
              <a:off x="8412944" y="3312752"/>
              <a:ext cx="352373" cy="352373"/>
              <a:chOff x="8768880" y="5024530"/>
              <a:chExt cx="352373" cy="352373"/>
            </a:xfrm>
          </p:grpSpPr>
          <p:sp>
            <p:nvSpPr>
              <p:cNvPr id="629" name="Oval 628">
                <a:extLst>
                  <a:ext uri="{FF2B5EF4-FFF2-40B4-BE49-F238E27FC236}">
                    <a16:creationId xmlns:a16="http://schemas.microsoft.com/office/drawing/2014/main" id="{ACF2878D-3C3A-7C6F-8197-E875EB7BBD7D}"/>
                  </a:ext>
                </a:extLst>
              </p:cNvPr>
              <p:cNvSpPr/>
              <p:nvPr/>
            </p:nvSpPr>
            <p:spPr>
              <a:xfrm>
                <a:off x="8768880" y="5024530"/>
                <a:ext cx="352373" cy="352373"/>
              </a:xfrm>
              <a:prstGeom prst="ellipse">
                <a:avLst/>
              </a:prstGeom>
              <a:solidFill>
                <a:schemeClr val="tx1"/>
              </a:solidFill>
              <a:ln w="7620" cap="rnd" cmpd="sng" algn="ctr">
                <a:solidFill>
                  <a:schemeClr val="tx2">
                    <a:lumMod val="50000"/>
                  </a:schemeClr>
                </a:solidFill>
                <a:prstDash val="solid"/>
                <a:round/>
                <a:headEnd type="none" w="med" len="med"/>
                <a:tailEnd type="none" w="med" len="med"/>
              </a:ln>
              <a:effectLst/>
            </p:spPr>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endParaRPr lang="en-US" sz="1200" kern="0">
                  <a:solidFill>
                    <a:srgbClr val="FFFFFF"/>
                  </a:solidFill>
                  <a:latin typeface="EYInterstate Light" panose="02000506000000020004" pitchFamily="2" charset="0"/>
                </a:endParaRPr>
              </a:p>
            </p:txBody>
          </p:sp>
          <p:grpSp>
            <p:nvGrpSpPr>
              <p:cNvPr id="630" name="Group 629">
                <a:extLst>
                  <a:ext uri="{FF2B5EF4-FFF2-40B4-BE49-F238E27FC236}">
                    <a16:creationId xmlns:a16="http://schemas.microsoft.com/office/drawing/2014/main" id="{C6AE373D-C10A-F7AE-06C1-DBFC1647392B}"/>
                  </a:ext>
                </a:extLst>
              </p:cNvPr>
              <p:cNvGrpSpPr/>
              <p:nvPr/>
            </p:nvGrpSpPr>
            <p:grpSpPr>
              <a:xfrm>
                <a:off x="8857345" y="5059039"/>
                <a:ext cx="181640" cy="264389"/>
                <a:chOff x="2746376" y="2461408"/>
                <a:chExt cx="1104950" cy="1608332"/>
              </a:xfrm>
            </p:grpSpPr>
            <p:sp>
              <p:nvSpPr>
                <p:cNvPr id="631" name="Freeform 25">
                  <a:extLst>
                    <a:ext uri="{FF2B5EF4-FFF2-40B4-BE49-F238E27FC236}">
                      <a16:creationId xmlns:a16="http://schemas.microsoft.com/office/drawing/2014/main" id="{BD76FBAC-E089-24D7-F863-F8CE16DA3609}"/>
                    </a:ext>
                  </a:extLst>
                </p:cNvPr>
                <p:cNvSpPr>
                  <a:spLocks/>
                </p:cNvSpPr>
                <p:nvPr/>
              </p:nvSpPr>
              <p:spPr bwMode="auto">
                <a:xfrm>
                  <a:off x="2746376" y="2602188"/>
                  <a:ext cx="1104950" cy="1467552"/>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lumMod val="50000"/>
                  </a:schemeClr>
                </a:solidFill>
                <a:ln>
                  <a:solidFill>
                    <a:schemeClr val="tx2">
                      <a:lumMod val="50000"/>
                    </a:schemeClr>
                  </a:solid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sp>
              <p:nvSpPr>
                <p:cNvPr id="632" name="Freeform 26">
                  <a:extLst>
                    <a:ext uri="{FF2B5EF4-FFF2-40B4-BE49-F238E27FC236}">
                      <a16:creationId xmlns:a16="http://schemas.microsoft.com/office/drawing/2014/main" id="{063B5D82-CCC8-6EEC-AA87-755B40B8F234}"/>
                    </a:ext>
                  </a:extLst>
                </p:cNvPr>
                <p:cNvSpPr>
                  <a:spLocks noEditPoints="1"/>
                </p:cNvSpPr>
                <p:nvPr/>
              </p:nvSpPr>
              <p:spPr bwMode="auto">
                <a:xfrm>
                  <a:off x="2918187" y="2461408"/>
                  <a:ext cx="761332" cy="1386974"/>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lumMod val="75000"/>
                  </a:schemeClr>
                </a:solidFill>
                <a:ln>
                  <a:noFill/>
                </a:ln>
              </p:spPr>
              <p:txBody>
                <a:bodyPr vert="horz" wrap="square" lIns="73152" tIns="36576" rIns="73152" bIns="36576" numCol="1" anchor="t" anchorCtr="0" compatLnSpc="1">
                  <a:prstTxWarp prst="textNoShape">
                    <a:avLst/>
                  </a:prstTxWarp>
                </a:bodyPr>
                <a:lstStyle/>
                <a:p>
                  <a:endParaRPr lang="en-US" kern="0">
                    <a:solidFill>
                      <a:srgbClr val="575757"/>
                    </a:solidFill>
                    <a:latin typeface="EYInterstate Light" panose="02000506000000020004" pitchFamily="2" charset="0"/>
                  </a:endParaRPr>
                </a:p>
              </p:txBody>
            </p:sp>
          </p:grpSp>
        </p:grpSp>
      </p:grpSp>
      <p:sp>
        <p:nvSpPr>
          <p:cNvPr id="703" name="White_Takeaway yellow_63820714297830901214">
            <a:extLst>
              <a:ext uri="{FF2B5EF4-FFF2-40B4-BE49-F238E27FC236}">
                <a16:creationId xmlns:a16="http://schemas.microsoft.com/office/drawing/2014/main" id="{701346D6-692D-EDDE-BC72-AD4FC966E99D}"/>
              </a:ext>
            </a:extLst>
          </p:cNvPr>
          <p:cNvSpPr/>
          <p:nvPr>
            <p:custDataLst>
              <p:tags r:id="rId2"/>
            </p:custDataLst>
          </p:nvPr>
        </p:nvSpPr>
        <p:spPr>
          <a:xfrm rot="5400000">
            <a:off x="4867170" y="3992488"/>
            <a:ext cx="2534976" cy="551979"/>
          </a:xfrm>
          <a:prstGeom prst="triangle">
            <a:avLst>
              <a:gd name="adj" fmla="val 50000"/>
            </a:avLst>
          </a:prstGeom>
          <a:solidFill>
            <a:schemeClr val="tx2"/>
          </a:solidFill>
          <a:ln w="12700" cap="sq" cmpd="sng" algn="ctr">
            <a:solidFill>
              <a:schemeClr val="tx2">
                <a:lumMod val="75000"/>
              </a:schemeClr>
            </a:solidFill>
            <a:prstDash val="solid"/>
            <a:miter lim="800000"/>
            <a:tailEnd type="none"/>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i="0" u="none" strike="noStrike" kern="0" cap="none" spc="0" normalizeH="0" baseline="0" noProof="0">
              <a:ln>
                <a:noFill/>
              </a:ln>
              <a:effectLst/>
              <a:uLnTx/>
              <a:uFillTx/>
              <a:latin typeface="EYInterstate Light" panose="02000506000000020004" pitchFamily="2" charset="0"/>
            </a:endParaRPr>
          </a:p>
        </p:txBody>
      </p:sp>
      <p:sp>
        <p:nvSpPr>
          <p:cNvPr id="224" name="Foliennummernplatzhalter 10">
            <a:extLst>
              <a:ext uri="{FF2B5EF4-FFF2-40B4-BE49-F238E27FC236}">
                <a16:creationId xmlns:a16="http://schemas.microsoft.com/office/drawing/2014/main" id="{918AACC0-DCD8-469F-9F70-8912DE523786}"/>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kern="100" spc="20">
                <a:solidFill>
                  <a:schemeClr val="bg1"/>
                </a:solidFill>
                <a:latin typeface="EYInterstate" panose="02000503020000020004" pitchFamily="2" charset="0"/>
              </a:rPr>
              <a:t>Page </a:t>
            </a:r>
            <a:fld id="{F1BC30E3-FFE5-4B91-AA19-87A149EBB9EE}" type="slidenum">
              <a:rPr lang="en-US" sz="800" kern="100" spc="20" smtClean="0">
                <a:solidFill>
                  <a:schemeClr val="bg1"/>
                </a:solidFill>
                <a:latin typeface="EYInterstate" panose="02000503020000020004" pitchFamily="2" charset="0"/>
              </a:rPr>
              <a:pPr/>
              <a:t>8</a:t>
            </a:fld>
            <a:endParaRPr lang="en-US" sz="800" kern="100" spc="20">
              <a:solidFill>
                <a:schemeClr val="bg1"/>
              </a:solidFill>
              <a:latin typeface="EYInterstate" panose="02000503020000020004" pitchFamily="2" charset="0"/>
            </a:endParaRPr>
          </a:p>
        </p:txBody>
      </p:sp>
      <p:sp>
        <p:nvSpPr>
          <p:cNvPr id="4" name="TextBox 3">
            <a:extLst>
              <a:ext uri="{FF2B5EF4-FFF2-40B4-BE49-F238E27FC236}">
                <a16:creationId xmlns:a16="http://schemas.microsoft.com/office/drawing/2014/main" id="{9FD05D7B-14B0-F8C1-3562-1F3918850163}"/>
              </a:ext>
            </a:extLst>
          </p:cNvPr>
          <p:cNvSpPr txBox="1"/>
          <p:nvPr/>
        </p:nvSpPr>
        <p:spPr>
          <a:xfrm>
            <a:off x="10361603" y="4428396"/>
            <a:ext cx="774967"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err="1">
                <a:solidFill>
                  <a:schemeClr val="bg1"/>
                </a:solidFill>
              </a:rPr>
              <a:t>Shipping</a:t>
            </a:r>
            <a:endParaRPr lang="nl-NL" sz="1200" dirty="0">
              <a:solidFill>
                <a:schemeClr val="bg1"/>
              </a:solidFill>
            </a:endParaRPr>
          </a:p>
        </p:txBody>
      </p:sp>
      <p:sp>
        <p:nvSpPr>
          <p:cNvPr id="5" name="TextBox 4">
            <a:extLst>
              <a:ext uri="{FF2B5EF4-FFF2-40B4-BE49-F238E27FC236}">
                <a16:creationId xmlns:a16="http://schemas.microsoft.com/office/drawing/2014/main" id="{82934BD2-681E-7C1F-6647-8BA114A8924F}"/>
              </a:ext>
            </a:extLst>
          </p:cNvPr>
          <p:cNvSpPr txBox="1"/>
          <p:nvPr/>
        </p:nvSpPr>
        <p:spPr>
          <a:xfrm>
            <a:off x="4095132" y="4428396"/>
            <a:ext cx="774967"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err="1">
                <a:solidFill>
                  <a:schemeClr val="bg1"/>
                </a:solidFill>
              </a:rPr>
              <a:t>Shipping</a:t>
            </a:r>
            <a:endParaRPr lang="nl-NL" sz="1200" dirty="0">
              <a:solidFill>
                <a:schemeClr val="bg1"/>
              </a:solidFill>
            </a:endParaRPr>
          </a:p>
        </p:txBody>
      </p:sp>
      <p:sp>
        <p:nvSpPr>
          <p:cNvPr id="6" name="TextBox 5">
            <a:extLst>
              <a:ext uri="{FF2B5EF4-FFF2-40B4-BE49-F238E27FC236}">
                <a16:creationId xmlns:a16="http://schemas.microsoft.com/office/drawing/2014/main" id="{6CE40B2D-E4E7-85DB-D7A5-509E2FF0C887}"/>
              </a:ext>
            </a:extLst>
          </p:cNvPr>
          <p:cNvSpPr txBox="1"/>
          <p:nvPr/>
        </p:nvSpPr>
        <p:spPr>
          <a:xfrm>
            <a:off x="3664224" y="5939328"/>
            <a:ext cx="774967"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a:solidFill>
                  <a:schemeClr val="bg1"/>
                </a:solidFill>
              </a:rPr>
              <a:t>Warehouse</a:t>
            </a:r>
          </a:p>
        </p:txBody>
      </p:sp>
      <p:sp>
        <p:nvSpPr>
          <p:cNvPr id="7" name="TextBox 6">
            <a:extLst>
              <a:ext uri="{FF2B5EF4-FFF2-40B4-BE49-F238E27FC236}">
                <a16:creationId xmlns:a16="http://schemas.microsoft.com/office/drawing/2014/main" id="{0E18F737-CAFD-CC89-934C-9FAC0C69CE6F}"/>
              </a:ext>
            </a:extLst>
          </p:cNvPr>
          <p:cNvSpPr txBox="1"/>
          <p:nvPr/>
        </p:nvSpPr>
        <p:spPr>
          <a:xfrm>
            <a:off x="9882520" y="5939328"/>
            <a:ext cx="774967"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a:solidFill>
                  <a:schemeClr val="bg1"/>
                </a:solidFill>
              </a:rPr>
              <a:t>Warehouse</a:t>
            </a:r>
          </a:p>
        </p:txBody>
      </p:sp>
      <p:sp>
        <p:nvSpPr>
          <p:cNvPr id="8" name="TextBox 7">
            <a:extLst>
              <a:ext uri="{FF2B5EF4-FFF2-40B4-BE49-F238E27FC236}">
                <a16:creationId xmlns:a16="http://schemas.microsoft.com/office/drawing/2014/main" id="{5E2F0DF8-15D9-B3BC-461D-C44FCACFE809}"/>
              </a:ext>
            </a:extLst>
          </p:cNvPr>
          <p:cNvSpPr txBox="1"/>
          <p:nvPr/>
        </p:nvSpPr>
        <p:spPr>
          <a:xfrm>
            <a:off x="1516160" y="5870496"/>
            <a:ext cx="31235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a:solidFill>
                  <a:schemeClr val="bg1"/>
                </a:solidFill>
              </a:rPr>
              <a:t>Tax</a:t>
            </a:r>
          </a:p>
        </p:txBody>
      </p:sp>
      <p:sp>
        <p:nvSpPr>
          <p:cNvPr id="9" name="TextBox 8">
            <a:extLst>
              <a:ext uri="{FF2B5EF4-FFF2-40B4-BE49-F238E27FC236}">
                <a16:creationId xmlns:a16="http://schemas.microsoft.com/office/drawing/2014/main" id="{053CF431-2D63-AC39-3419-BB73DB1B78CF}"/>
              </a:ext>
            </a:extLst>
          </p:cNvPr>
          <p:cNvSpPr txBox="1"/>
          <p:nvPr/>
        </p:nvSpPr>
        <p:spPr>
          <a:xfrm>
            <a:off x="7760249" y="5890355"/>
            <a:ext cx="31235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a:solidFill>
                  <a:schemeClr val="bg1"/>
                </a:solidFill>
              </a:rPr>
              <a:t>Tax</a:t>
            </a:r>
          </a:p>
        </p:txBody>
      </p:sp>
      <p:sp>
        <p:nvSpPr>
          <p:cNvPr id="10" name="TextBox 9">
            <a:extLst>
              <a:ext uri="{FF2B5EF4-FFF2-40B4-BE49-F238E27FC236}">
                <a16:creationId xmlns:a16="http://schemas.microsoft.com/office/drawing/2014/main" id="{31B25BED-D5CD-3ED9-D227-A65D587B0549}"/>
              </a:ext>
            </a:extLst>
          </p:cNvPr>
          <p:cNvSpPr txBox="1"/>
          <p:nvPr/>
        </p:nvSpPr>
        <p:spPr>
          <a:xfrm>
            <a:off x="1176943" y="4525345"/>
            <a:ext cx="45774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a:solidFill>
                  <a:schemeClr val="bg1"/>
                </a:solidFill>
              </a:rPr>
              <a:t>Bank</a:t>
            </a:r>
          </a:p>
        </p:txBody>
      </p:sp>
      <p:sp>
        <p:nvSpPr>
          <p:cNvPr id="11" name="TextBox 10">
            <a:extLst>
              <a:ext uri="{FF2B5EF4-FFF2-40B4-BE49-F238E27FC236}">
                <a16:creationId xmlns:a16="http://schemas.microsoft.com/office/drawing/2014/main" id="{91A07D10-F159-34A9-55D3-F40FF296FAFC}"/>
              </a:ext>
            </a:extLst>
          </p:cNvPr>
          <p:cNvSpPr txBox="1"/>
          <p:nvPr/>
        </p:nvSpPr>
        <p:spPr>
          <a:xfrm>
            <a:off x="7355584" y="4524122"/>
            <a:ext cx="45774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a:solidFill>
                  <a:schemeClr val="bg1"/>
                </a:solidFill>
              </a:rPr>
              <a:t>Bank</a:t>
            </a:r>
          </a:p>
        </p:txBody>
      </p:sp>
      <p:sp>
        <p:nvSpPr>
          <p:cNvPr id="12" name="TextBox 11">
            <a:extLst>
              <a:ext uri="{FF2B5EF4-FFF2-40B4-BE49-F238E27FC236}">
                <a16:creationId xmlns:a16="http://schemas.microsoft.com/office/drawing/2014/main" id="{6E23FBBB-E871-7360-92F2-E167DB9073A9}"/>
              </a:ext>
            </a:extLst>
          </p:cNvPr>
          <p:cNvSpPr txBox="1"/>
          <p:nvPr/>
        </p:nvSpPr>
        <p:spPr>
          <a:xfrm>
            <a:off x="2267932" y="3229101"/>
            <a:ext cx="532259"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err="1">
                <a:solidFill>
                  <a:schemeClr val="bg1"/>
                </a:solidFill>
              </a:rPr>
              <a:t>Factory</a:t>
            </a:r>
            <a:endParaRPr lang="nl-NL" sz="1200" dirty="0">
              <a:solidFill>
                <a:schemeClr val="bg1"/>
              </a:solidFill>
            </a:endParaRPr>
          </a:p>
        </p:txBody>
      </p:sp>
      <p:sp>
        <p:nvSpPr>
          <p:cNvPr id="13" name="TextBox 12">
            <a:extLst>
              <a:ext uri="{FF2B5EF4-FFF2-40B4-BE49-F238E27FC236}">
                <a16:creationId xmlns:a16="http://schemas.microsoft.com/office/drawing/2014/main" id="{1A8CCC7A-E1FE-06D1-E9F2-CB10F2BA0530}"/>
              </a:ext>
            </a:extLst>
          </p:cNvPr>
          <p:cNvSpPr txBox="1"/>
          <p:nvPr/>
        </p:nvSpPr>
        <p:spPr>
          <a:xfrm>
            <a:off x="8441925" y="3246045"/>
            <a:ext cx="532259"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nl-NL" sz="1200" dirty="0" err="1">
                <a:solidFill>
                  <a:schemeClr val="bg1"/>
                </a:solidFill>
              </a:rPr>
              <a:t>Factory</a:t>
            </a:r>
            <a:endParaRPr lang="nl-NL" sz="1200" dirty="0">
              <a:solidFill>
                <a:schemeClr val="bg1"/>
              </a:solidFill>
            </a:endParaRPr>
          </a:p>
        </p:txBody>
      </p:sp>
      <p:pic>
        <p:nvPicPr>
          <p:cNvPr id="14" name="Picture 2" descr="NOREA | NOREA">
            <a:extLst>
              <a:ext uri="{FF2B5EF4-FFF2-40B4-BE49-F238E27FC236}">
                <a16:creationId xmlns:a16="http://schemas.microsoft.com/office/drawing/2014/main" id="{4591842E-A386-6AA0-4C2E-3C37E6905B5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5193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37089D-20CD-4B58-ACDD-EC60EDA909E7}"/>
              </a:ext>
            </a:extLst>
          </p:cNvPr>
          <p:cNvSpPr>
            <a:spLocks noGrp="1"/>
          </p:cNvSpPr>
          <p:nvPr>
            <p:ph type="body" sz="quarter" idx="4294967295"/>
          </p:nvPr>
        </p:nvSpPr>
        <p:spPr>
          <a:xfrm>
            <a:off x="627141" y="144533"/>
            <a:ext cx="11017250" cy="444500"/>
          </a:xfrm>
        </p:spPr>
        <p:txBody>
          <a:bodyPr/>
          <a:lstStyle/>
          <a:p>
            <a:pPr marL="0" indent="0">
              <a:buNone/>
            </a:pPr>
            <a:r>
              <a:rPr lang="en-IN" dirty="0">
                <a:latin typeface="EYInterstate Light" panose="02000506000000020004" pitchFamily="2" charset="0"/>
              </a:rPr>
              <a:t>The definitions of Blockchain might differ but the core five building elements remain consistent</a:t>
            </a:r>
          </a:p>
        </p:txBody>
      </p:sp>
      <p:grpSp>
        <p:nvGrpSpPr>
          <p:cNvPr id="9" name="Group 8">
            <a:extLst>
              <a:ext uri="{FF2B5EF4-FFF2-40B4-BE49-F238E27FC236}">
                <a16:creationId xmlns:a16="http://schemas.microsoft.com/office/drawing/2014/main" id="{35D88628-D2BD-4383-A745-80C555DD0C70}"/>
              </a:ext>
            </a:extLst>
          </p:cNvPr>
          <p:cNvGrpSpPr/>
          <p:nvPr/>
        </p:nvGrpSpPr>
        <p:grpSpPr>
          <a:xfrm>
            <a:off x="604147" y="1535215"/>
            <a:ext cx="10863625" cy="2650052"/>
            <a:chOff x="701422" y="1893700"/>
            <a:chExt cx="10863625" cy="2650052"/>
          </a:xfrm>
        </p:grpSpPr>
        <p:pic>
          <p:nvPicPr>
            <p:cNvPr id="3" name="Graphic 2">
              <a:extLst>
                <a:ext uri="{FF2B5EF4-FFF2-40B4-BE49-F238E27FC236}">
                  <a16:creationId xmlns:a16="http://schemas.microsoft.com/office/drawing/2014/main" id="{30C6D705-57F4-4833-918F-22BE172A75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422" y="3755163"/>
              <a:ext cx="776641" cy="788589"/>
            </a:xfrm>
            <a:prstGeom prst="rect">
              <a:avLst/>
            </a:prstGeom>
          </p:spPr>
        </p:pic>
        <p:sp>
          <p:nvSpPr>
            <p:cNvPr id="5" name="Rectangle 4">
              <a:extLst>
                <a:ext uri="{FF2B5EF4-FFF2-40B4-BE49-F238E27FC236}">
                  <a16:creationId xmlns:a16="http://schemas.microsoft.com/office/drawing/2014/main" id="{4ED1BCAD-E88E-4819-9751-66895B8B093C}"/>
                </a:ext>
              </a:extLst>
            </p:cNvPr>
            <p:cNvSpPr/>
            <p:nvPr/>
          </p:nvSpPr>
          <p:spPr>
            <a:xfrm>
              <a:off x="769578" y="2294467"/>
              <a:ext cx="1878542" cy="2196253"/>
            </a:xfrm>
            <a:prstGeom prst="rect">
              <a:avLst/>
            </a:prstGeom>
            <a:noFill/>
            <a:ln w="9525">
              <a:solidFill>
                <a:srgbClr val="6DDED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8" name="TextBox 27">
              <a:extLst>
                <a:ext uri="{FF2B5EF4-FFF2-40B4-BE49-F238E27FC236}">
                  <a16:creationId xmlns:a16="http://schemas.microsoft.com/office/drawing/2014/main" id="{FFC0D7DC-3DEC-4563-96E3-3DAED6F91342}"/>
                </a:ext>
              </a:extLst>
            </p:cNvPr>
            <p:cNvSpPr txBox="1"/>
            <p:nvPr/>
          </p:nvSpPr>
          <p:spPr>
            <a:xfrm>
              <a:off x="1036773" y="2701250"/>
              <a:ext cx="1299210" cy="341618"/>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200" dirty="0">
                  <a:solidFill>
                    <a:schemeClr val="bg1"/>
                  </a:solidFill>
                  <a:latin typeface="EYInterstate" panose="02000503020000020004" pitchFamily="2" charset="0"/>
                </a:rPr>
                <a:t>Asymmetric encryption</a:t>
              </a:r>
            </a:p>
          </p:txBody>
        </p:sp>
        <p:sp>
          <p:nvSpPr>
            <p:cNvPr id="29" name="TextBox 28">
              <a:extLst>
                <a:ext uri="{FF2B5EF4-FFF2-40B4-BE49-F238E27FC236}">
                  <a16:creationId xmlns:a16="http://schemas.microsoft.com/office/drawing/2014/main" id="{2183D1D2-9914-4DA9-ACDC-8CE19D1903D7}"/>
                </a:ext>
              </a:extLst>
            </p:cNvPr>
            <p:cNvSpPr txBox="1"/>
            <p:nvPr/>
          </p:nvSpPr>
          <p:spPr>
            <a:xfrm>
              <a:off x="856140" y="3271987"/>
              <a:ext cx="1593013" cy="923330"/>
            </a:xfrm>
            <a:prstGeom prst="rect">
              <a:avLst/>
            </a:prstGeom>
            <a:noFill/>
          </p:spPr>
          <p:txBody>
            <a:bodyPr wrap="square" lIns="0" tIns="0" rIns="0" bIns="0" rtlCol="0" anchor="t">
              <a:spAutoFit/>
            </a:bodyPr>
            <a:lstStyle/>
            <a:p>
              <a:pPr marL="90439"/>
              <a:r>
                <a:rPr lang="en-US" sz="1000" kern="0" dirty="0">
                  <a:solidFill>
                    <a:schemeClr val="bg1"/>
                  </a:solidFill>
                  <a:cs typeface="Arial"/>
                </a:rPr>
                <a:t>This form of encryption enable the use of public and a private key. This way users have a secure way to decrypt data send to them.</a:t>
              </a:r>
            </a:p>
          </p:txBody>
        </p:sp>
        <p:sp>
          <p:nvSpPr>
            <p:cNvPr id="7" name="Oval 6">
              <a:extLst>
                <a:ext uri="{FF2B5EF4-FFF2-40B4-BE49-F238E27FC236}">
                  <a16:creationId xmlns:a16="http://schemas.microsoft.com/office/drawing/2014/main" id="{48B5D980-E4A1-426A-8681-B205154399CF}"/>
                </a:ext>
              </a:extLst>
            </p:cNvPr>
            <p:cNvSpPr/>
            <p:nvPr/>
          </p:nvSpPr>
          <p:spPr>
            <a:xfrm>
              <a:off x="1320529" y="1906146"/>
              <a:ext cx="776641" cy="776641"/>
            </a:xfrm>
            <a:prstGeom prst="ellipse">
              <a:avLst/>
            </a:prstGeom>
            <a:solidFill>
              <a:srgbClr val="6DDEDC"/>
            </a:solidFill>
            <a:ln w="9525">
              <a:solidFill>
                <a:srgbClr val="6DDED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32" name="Group 31">
              <a:extLst>
                <a:ext uri="{FF2B5EF4-FFF2-40B4-BE49-F238E27FC236}">
                  <a16:creationId xmlns:a16="http://schemas.microsoft.com/office/drawing/2014/main" id="{7D59400A-AE01-400D-ACA8-7F6E58943BBC}"/>
                </a:ext>
              </a:extLst>
            </p:cNvPr>
            <p:cNvGrpSpPr/>
            <p:nvPr/>
          </p:nvGrpSpPr>
          <p:grpSpPr>
            <a:xfrm>
              <a:off x="1472799" y="2076151"/>
              <a:ext cx="472100" cy="436632"/>
              <a:chOff x="5002213" y="4786313"/>
              <a:chExt cx="1225550" cy="1133475"/>
            </a:xfrm>
          </p:grpSpPr>
          <p:sp>
            <p:nvSpPr>
              <p:cNvPr id="33" name="Freeform 45">
                <a:extLst>
                  <a:ext uri="{FF2B5EF4-FFF2-40B4-BE49-F238E27FC236}">
                    <a16:creationId xmlns:a16="http://schemas.microsoft.com/office/drawing/2014/main" id="{7203FA1E-27D9-4466-966F-687CD2CD8088}"/>
                  </a:ext>
                </a:extLst>
              </p:cNvPr>
              <p:cNvSpPr>
                <a:spLocks/>
              </p:cNvSpPr>
              <p:nvPr/>
            </p:nvSpPr>
            <p:spPr bwMode="auto">
              <a:xfrm>
                <a:off x="5002213" y="4786313"/>
                <a:ext cx="1225550" cy="815975"/>
              </a:xfrm>
              <a:custGeom>
                <a:avLst/>
                <a:gdLst>
                  <a:gd name="T0" fmla="*/ 620 w 772"/>
                  <a:gd name="T1" fmla="*/ 512 h 514"/>
                  <a:gd name="T2" fmla="*/ 616 w 772"/>
                  <a:gd name="T3" fmla="*/ 504 h 514"/>
                  <a:gd name="T4" fmla="*/ 624 w 772"/>
                  <a:gd name="T5" fmla="*/ 498 h 514"/>
                  <a:gd name="T6" fmla="*/ 676 w 772"/>
                  <a:gd name="T7" fmla="*/ 482 h 514"/>
                  <a:gd name="T8" fmla="*/ 734 w 772"/>
                  <a:gd name="T9" fmla="*/ 430 h 514"/>
                  <a:gd name="T10" fmla="*/ 752 w 772"/>
                  <a:gd name="T11" fmla="*/ 380 h 514"/>
                  <a:gd name="T12" fmla="*/ 754 w 772"/>
                  <a:gd name="T13" fmla="*/ 338 h 514"/>
                  <a:gd name="T14" fmla="*/ 738 w 772"/>
                  <a:gd name="T15" fmla="*/ 284 h 514"/>
                  <a:gd name="T16" fmla="*/ 702 w 772"/>
                  <a:gd name="T17" fmla="*/ 242 h 514"/>
                  <a:gd name="T18" fmla="*/ 654 w 772"/>
                  <a:gd name="T19" fmla="*/ 216 h 514"/>
                  <a:gd name="T20" fmla="*/ 552 w 772"/>
                  <a:gd name="T21" fmla="*/ 210 h 514"/>
                  <a:gd name="T22" fmla="*/ 550 w 772"/>
                  <a:gd name="T23" fmla="*/ 148 h 514"/>
                  <a:gd name="T24" fmla="*/ 524 w 772"/>
                  <a:gd name="T25" fmla="*/ 90 h 514"/>
                  <a:gd name="T26" fmla="*/ 480 w 772"/>
                  <a:gd name="T27" fmla="*/ 46 h 514"/>
                  <a:gd name="T28" fmla="*/ 422 w 772"/>
                  <a:gd name="T29" fmla="*/ 22 h 514"/>
                  <a:gd name="T30" fmla="*/ 374 w 772"/>
                  <a:gd name="T31" fmla="*/ 18 h 514"/>
                  <a:gd name="T32" fmla="*/ 320 w 772"/>
                  <a:gd name="T33" fmla="*/ 34 h 514"/>
                  <a:gd name="T34" fmla="*/ 256 w 772"/>
                  <a:gd name="T35" fmla="*/ 86 h 514"/>
                  <a:gd name="T36" fmla="*/ 232 w 772"/>
                  <a:gd name="T37" fmla="*/ 136 h 514"/>
                  <a:gd name="T38" fmla="*/ 188 w 772"/>
                  <a:gd name="T39" fmla="*/ 158 h 514"/>
                  <a:gd name="T40" fmla="*/ 122 w 772"/>
                  <a:gd name="T41" fmla="*/ 172 h 514"/>
                  <a:gd name="T42" fmla="*/ 68 w 772"/>
                  <a:gd name="T43" fmla="*/ 208 h 514"/>
                  <a:gd name="T44" fmla="*/ 32 w 772"/>
                  <a:gd name="T45" fmla="*/ 262 h 514"/>
                  <a:gd name="T46" fmla="*/ 18 w 772"/>
                  <a:gd name="T47" fmla="*/ 328 h 514"/>
                  <a:gd name="T48" fmla="*/ 38 w 772"/>
                  <a:gd name="T49" fmla="*/ 406 h 514"/>
                  <a:gd name="T50" fmla="*/ 112 w 772"/>
                  <a:gd name="T51" fmla="*/ 480 h 514"/>
                  <a:gd name="T52" fmla="*/ 144 w 772"/>
                  <a:gd name="T53" fmla="*/ 494 h 514"/>
                  <a:gd name="T54" fmla="*/ 142 w 772"/>
                  <a:gd name="T55" fmla="*/ 504 h 514"/>
                  <a:gd name="T56" fmla="*/ 132 w 772"/>
                  <a:gd name="T57" fmla="*/ 508 h 514"/>
                  <a:gd name="T58" fmla="*/ 78 w 772"/>
                  <a:gd name="T59" fmla="*/ 480 h 514"/>
                  <a:gd name="T60" fmla="*/ 10 w 772"/>
                  <a:gd name="T61" fmla="*/ 388 h 514"/>
                  <a:gd name="T62" fmla="*/ 0 w 772"/>
                  <a:gd name="T63" fmla="*/ 328 h 514"/>
                  <a:gd name="T64" fmla="*/ 8 w 772"/>
                  <a:gd name="T65" fmla="*/ 272 h 514"/>
                  <a:gd name="T66" fmla="*/ 42 w 772"/>
                  <a:gd name="T67" fmla="*/ 208 h 514"/>
                  <a:gd name="T68" fmla="*/ 98 w 772"/>
                  <a:gd name="T69" fmla="*/ 164 h 514"/>
                  <a:gd name="T70" fmla="*/ 168 w 772"/>
                  <a:gd name="T71" fmla="*/ 142 h 514"/>
                  <a:gd name="T72" fmla="*/ 216 w 772"/>
                  <a:gd name="T73" fmla="*/ 126 h 514"/>
                  <a:gd name="T74" fmla="*/ 244 w 772"/>
                  <a:gd name="T75" fmla="*/ 72 h 514"/>
                  <a:gd name="T76" fmla="*/ 288 w 772"/>
                  <a:gd name="T77" fmla="*/ 30 h 514"/>
                  <a:gd name="T78" fmla="*/ 342 w 772"/>
                  <a:gd name="T79" fmla="*/ 6 h 514"/>
                  <a:gd name="T80" fmla="*/ 388 w 772"/>
                  <a:gd name="T81" fmla="*/ 0 h 514"/>
                  <a:gd name="T82" fmla="*/ 460 w 772"/>
                  <a:gd name="T83" fmla="*/ 14 h 514"/>
                  <a:gd name="T84" fmla="*/ 518 w 772"/>
                  <a:gd name="T85" fmla="*/ 54 h 514"/>
                  <a:gd name="T86" fmla="*/ 556 w 772"/>
                  <a:gd name="T87" fmla="*/ 112 h 514"/>
                  <a:gd name="T88" fmla="*/ 570 w 772"/>
                  <a:gd name="T89" fmla="*/ 182 h 514"/>
                  <a:gd name="T90" fmla="*/ 628 w 772"/>
                  <a:gd name="T91" fmla="*/ 192 h 514"/>
                  <a:gd name="T92" fmla="*/ 688 w 772"/>
                  <a:gd name="T93" fmla="*/ 212 h 514"/>
                  <a:gd name="T94" fmla="*/ 736 w 772"/>
                  <a:gd name="T95" fmla="*/ 250 h 514"/>
                  <a:gd name="T96" fmla="*/ 766 w 772"/>
                  <a:gd name="T97" fmla="*/ 306 h 514"/>
                  <a:gd name="T98" fmla="*/ 772 w 772"/>
                  <a:gd name="T99" fmla="*/ 354 h 514"/>
                  <a:gd name="T100" fmla="*/ 762 w 772"/>
                  <a:gd name="T101" fmla="*/ 414 h 514"/>
                  <a:gd name="T102" fmla="*/ 730 w 772"/>
                  <a:gd name="T103" fmla="*/ 462 h 514"/>
                  <a:gd name="T104" fmla="*/ 684 w 772"/>
                  <a:gd name="T105" fmla="*/ 498 h 514"/>
                  <a:gd name="T106" fmla="*/ 626 w 772"/>
                  <a:gd name="T107"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2" h="514">
                    <a:moveTo>
                      <a:pt x="626" y="514"/>
                    </a:moveTo>
                    <a:lnTo>
                      <a:pt x="626" y="514"/>
                    </a:lnTo>
                    <a:lnTo>
                      <a:pt x="622" y="514"/>
                    </a:lnTo>
                    <a:lnTo>
                      <a:pt x="620" y="512"/>
                    </a:lnTo>
                    <a:lnTo>
                      <a:pt x="618" y="510"/>
                    </a:lnTo>
                    <a:lnTo>
                      <a:pt x="616" y="506"/>
                    </a:lnTo>
                    <a:lnTo>
                      <a:pt x="616" y="506"/>
                    </a:lnTo>
                    <a:lnTo>
                      <a:pt x="616" y="504"/>
                    </a:lnTo>
                    <a:lnTo>
                      <a:pt x="618" y="500"/>
                    </a:lnTo>
                    <a:lnTo>
                      <a:pt x="622" y="498"/>
                    </a:lnTo>
                    <a:lnTo>
                      <a:pt x="624" y="498"/>
                    </a:lnTo>
                    <a:lnTo>
                      <a:pt x="624" y="498"/>
                    </a:lnTo>
                    <a:lnTo>
                      <a:pt x="638" y="496"/>
                    </a:lnTo>
                    <a:lnTo>
                      <a:pt x="652" y="492"/>
                    </a:lnTo>
                    <a:lnTo>
                      <a:pt x="664" y="488"/>
                    </a:lnTo>
                    <a:lnTo>
                      <a:pt x="676" y="482"/>
                    </a:lnTo>
                    <a:lnTo>
                      <a:pt x="688" y="476"/>
                    </a:lnTo>
                    <a:lnTo>
                      <a:pt x="698" y="468"/>
                    </a:lnTo>
                    <a:lnTo>
                      <a:pt x="718" y="450"/>
                    </a:lnTo>
                    <a:lnTo>
                      <a:pt x="734" y="430"/>
                    </a:lnTo>
                    <a:lnTo>
                      <a:pt x="740" y="418"/>
                    </a:lnTo>
                    <a:lnTo>
                      <a:pt x="744" y="406"/>
                    </a:lnTo>
                    <a:lnTo>
                      <a:pt x="750" y="394"/>
                    </a:lnTo>
                    <a:lnTo>
                      <a:pt x="752" y="380"/>
                    </a:lnTo>
                    <a:lnTo>
                      <a:pt x="754" y="368"/>
                    </a:lnTo>
                    <a:lnTo>
                      <a:pt x="754" y="354"/>
                    </a:lnTo>
                    <a:lnTo>
                      <a:pt x="754" y="354"/>
                    </a:lnTo>
                    <a:lnTo>
                      <a:pt x="754" y="338"/>
                    </a:lnTo>
                    <a:lnTo>
                      <a:pt x="752" y="324"/>
                    </a:lnTo>
                    <a:lnTo>
                      <a:pt x="748" y="310"/>
                    </a:lnTo>
                    <a:lnTo>
                      <a:pt x="744" y="298"/>
                    </a:lnTo>
                    <a:lnTo>
                      <a:pt x="738" y="284"/>
                    </a:lnTo>
                    <a:lnTo>
                      <a:pt x="730" y="274"/>
                    </a:lnTo>
                    <a:lnTo>
                      <a:pt x="722" y="262"/>
                    </a:lnTo>
                    <a:lnTo>
                      <a:pt x="712" y="252"/>
                    </a:lnTo>
                    <a:lnTo>
                      <a:pt x="702" y="242"/>
                    </a:lnTo>
                    <a:lnTo>
                      <a:pt x="692" y="234"/>
                    </a:lnTo>
                    <a:lnTo>
                      <a:pt x="680" y="226"/>
                    </a:lnTo>
                    <a:lnTo>
                      <a:pt x="666" y="220"/>
                    </a:lnTo>
                    <a:lnTo>
                      <a:pt x="654" y="216"/>
                    </a:lnTo>
                    <a:lnTo>
                      <a:pt x="640" y="212"/>
                    </a:lnTo>
                    <a:lnTo>
                      <a:pt x="626" y="210"/>
                    </a:lnTo>
                    <a:lnTo>
                      <a:pt x="610" y="210"/>
                    </a:lnTo>
                    <a:lnTo>
                      <a:pt x="552" y="210"/>
                    </a:lnTo>
                    <a:lnTo>
                      <a:pt x="552" y="182"/>
                    </a:lnTo>
                    <a:lnTo>
                      <a:pt x="552" y="182"/>
                    </a:lnTo>
                    <a:lnTo>
                      <a:pt x="552" y="166"/>
                    </a:lnTo>
                    <a:lnTo>
                      <a:pt x="550" y="148"/>
                    </a:lnTo>
                    <a:lnTo>
                      <a:pt x="546" y="134"/>
                    </a:lnTo>
                    <a:lnTo>
                      <a:pt x="540" y="118"/>
                    </a:lnTo>
                    <a:lnTo>
                      <a:pt x="534" y="104"/>
                    </a:lnTo>
                    <a:lnTo>
                      <a:pt x="524" y="90"/>
                    </a:lnTo>
                    <a:lnTo>
                      <a:pt x="516" y="78"/>
                    </a:lnTo>
                    <a:lnTo>
                      <a:pt x="504" y="66"/>
                    </a:lnTo>
                    <a:lnTo>
                      <a:pt x="494" y="56"/>
                    </a:lnTo>
                    <a:lnTo>
                      <a:pt x="480" y="46"/>
                    </a:lnTo>
                    <a:lnTo>
                      <a:pt x="468" y="38"/>
                    </a:lnTo>
                    <a:lnTo>
                      <a:pt x="452" y="30"/>
                    </a:lnTo>
                    <a:lnTo>
                      <a:pt x="438" y="26"/>
                    </a:lnTo>
                    <a:lnTo>
                      <a:pt x="422" y="22"/>
                    </a:lnTo>
                    <a:lnTo>
                      <a:pt x="406" y="18"/>
                    </a:lnTo>
                    <a:lnTo>
                      <a:pt x="388" y="18"/>
                    </a:lnTo>
                    <a:lnTo>
                      <a:pt x="388" y="18"/>
                    </a:lnTo>
                    <a:lnTo>
                      <a:pt x="374" y="18"/>
                    </a:lnTo>
                    <a:lnTo>
                      <a:pt x="360" y="20"/>
                    </a:lnTo>
                    <a:lnTo>
                      <a:pt x="346" y="24"/>
                    </a:lnTo>
                    <a:lnTo>
                      <a:pt x="332" y="28"/>
                    </a:lnTo>
                    <a:lnTo>
                      <a:pt x="320" y="34"/>
                    </a:lnTo>
                    <a:lnTo>
                      <a:pt x="308" y="40"/>
                    </a:lnTo>
                    <a:lnTo>
                      <a:pt x="284" y="56"/>
                    </a:lnTo>
                    <a:lnTo>
                      <a:pt x="264" y="76"/>
                    </a:lnTo>
                    <a:lnTo>
                      <a:pt x="256" y="86"/>
                    </a:lnTo>
                    <a:lnTo>
                      <a:pt x="248" y="98"/>
                    </a:lnTo>
                    <a:lnTo>
                      <a:pt x="242" y="110"/>
                    </a:lnTo>
                    <a:lnTo>
                      <a:pt x="236" y="124"/>
                    </a:lnTo>
                    <a:lnTo>
                      <a:pt x="232" y="136"/>
                    </a:lnTo>
                    <a:lnTo>
                      <a:pt x="228" y="152"/>
                    </a:lnTo>
                    <a:lnTo>
                      <a:pt x="226" y="158"/>
                    </a:lnTo>
                    <a:lnTo>
                      <a:pt x="188" y="158"/>
                    </a:lnTo>
                    <a:lnTo>
                      <a:pt x="188" y="158"/>
                    </a:lnTo>
                    <a:lnTo>
                      <a:pt x="170" y="160"/>
                    </a:lnTo>
                    <a:lnTo>
                      <a:pt x="154" y="162"/>
                    </a:lnTo>
                    <a:lnTo>
                      <a:pt x="138" y="166"/>
                    </a:lnTo>
                    <a:lnTo>
                      <a:pt x="122" y="172"/>
                    </a:lnTo>
                    <a:lnTo>
                      <a:pt x="106" y="178"/>
                    </a:lnTo>
                    <a:lnTo>
                      <a:pt x="92" y="188"/>
                    </a:lnTo>
                    <a:lnTo>
                      <a:pt x="80" y="198"/>
                    </a:lnTo>
                    <a:lnTo>
                      <a:pt x="68" y="208"/>
                    </a:lnTo>
                    <a:lnTo>
                      <a:pt x="56" y="220"/>
                    </a:lnTo>
                    <a:lnTo>
                      <a:pt x="46" y="234"/>
                    </a:lnTo>
                    <a:lnTo>
                      <a:pt x="38" y="248"/>
                    </a:lnTo>
                    <a:lnTo>
                      <a:pt x="32" y="262"/>
                    </a:lnTo>
                    <a:lnTo>
                      <a:pt x="26" y="278"/>
                    </a:lnTo>
                    <a:lnTo>
                      <a:pt x="22" y="294"/>
                    </a:lnTo>
                    <a:lnTo>
                      <a:pt x="18" y="310"/>
                    </a:lnTo>
                    <a:lnTo>
                      <a:pt x="18" y="328"/>
                    </a:lnTo>
                    <a:lnTo>
                      <a:pt x="18" y="328"/>
                    </a:lnTo>
                    <a:lnTo>
                      <a:pt x="20" y="356"/>
                    </a:lnTo>
                    <a:lnTo>
                      <a:pt x="26" y="382"/>
                    </a:lnTo>
                    <a:lnTo>
                      <a:pt x="38" y="406"/>
                    </a:lnTo>
                    <a:lnTo>
                      <a:pt x="52" y="430"/>
                    </a:lnTo>
                    <a:lnTo>
                      <a:pt x="68" y="450"/>
                    </a:lnTo>
                    <a:lnTo>
                      <a:pt x="88" y="466"/>
                    </a:lnTo>
                    <a:lnTo>
                      <a:pt x="112" y="480"/>
                    </a:lnTo>
                    <a:lnTo>
                      <a:pt x="138" y="490"/>
                    </a:lnTo>
                    <a:lnTo>
                      <a:pt x="138" y="490"/>
                    </a:lnTo>
                    <a:lnTo>
                      <a:pt x="142" y="492"/>
                    </a:lnTo>
                    <a:lnTo>
                      <a:pt x="144" y="494"/>
                    </a:lnTo>
                    <a:lnTo>
                      <a:pt x="144" y="498"/>
                    </a:lnTo>
                    <a:lnTo>
                      <a:pt x="144" y="502"/>
                    </a:lnTo>
                    <a:lnTo>
                      <a:pt x="144" y="502"/>
                    </a:lnTo>
                    <a:lnTo>
                      <a:pt x="142" y="504"/>
                    </a:lnTo>
                    <a:lnTo>
                      <a:pt x="140" y="506"/>
                    </a:lnTo>
                    <a:lnTo>
                      <a:pt x="136" y="508"/>
                    </a:lnTo>
                    <a:lnTo>
                      <a:pt x="132" y="508"/>
                    </a:lnTo>
                    <a:lnTo>
                      <a:pt x="132" y="508"/>
                    </a:lnTo>
                    <a:lnTo>
                      <a:pt x="118" y="502"/>
                    </a:lnTo>
                    <a:lnTo>
                      <a:pt x="104" y="496"/>
                    </a:lnTo>
                    <a:lnTo>
                      <a:pt x="92" y="490"/>
                    </a:lnTo>
                    <a:lnTo>
                      <a:pt x="78" y="480"/>
                    </a:lnTo>
                    <a:lnTo>
                      <a:pt x="56" y="462"/>
                    </a:lnTo>
                    <a:lnTo>
                      <a:pt x="36" y="440"/>
                    </a:lnTo>
                    <a:lnTo>
                      <a:pt x="22" y="416"/>
                    </a:lnTo>
                    <a:lnTo>
                      <a:pt x="10" y="388"/>
                    </a:lnTo>
                    <a:lnTo>
                      <a:pt x="6" y="374"/>
                    </a:lnTo>
                    <a:lnTo>
                      <a:pt x="2" y="358"/>
                    </a:lnTo>
                    <a:lnTo>
                      <a:pt x="0" y="344"/>
                    </a:lnTo>
                    <a:lnTo>
                      <a:pt x="0" y="328"/>
                    </a:lnTo>
                    <a:lnTo>
                      <a:pt x="0" y="328"/>
                    </a:lnTo>
                    <a:lnTo>
                      <a:pt x="0" y="308"/>
                    </a:lnTo>
                    <a:lnTo>
                      <a:pt x="4" y="290"/>
                    </a:lnTo>
                    <a:lnTo>
                      <a:pt x="8" y="272"/>
                    </a:lnTo>
                    <a:lnTo>
                      <a:pt x="14" y="256"/>
                    </a:lnTo>
                    <a:lnTo>
                      <a:pt x="22" y="238"/>
                    </a:lnTo>
                    <a:lnTo>
                      <a:pt x="32" y="224"/>
                    </a:lnTo>
                    <a:lnTo>
                      <a:pt x="42" y="208"/>
                    </a:lnTo>
                    <a:lnTo>
                      <a:pt x="54" y="196"/>
                    </a:lnTo>
                    <a:lnTo>
                      <a:pt x="68" y="184"/>
                    </a:lnTo>
                    <a:lnTo>
                      <a:pt x="82" y="172"/>
                    </a:lnTo>
                    <a:lnTo>
                      <a:pt x="98" y="164"/>
                    </a:lnTo>
                    <a:lnTo>
                      <a:pt x="114" y="156"/>
                    </a:lnTo>
                    <a:lnTo>
                      <a:pt x="132" y="148"/>
                    </a:lnTo>
                    <a:lnTo>
                      <a:pt x="150" y="144"/>
                    </a:lnTo>
                    <a:lnTo>
                      <a:pt x="168" y="142"/>
                    </a:lnTo>
                    <a:lnTo>
                      <a:pt x="188" y="140"/>
                    </a:lnTo>
                    <a:lnTo>
                      <a:pt x="212" y="140"/>
                    </a:lnTo>
                    <a:lnTo>
                      <a:pt x="212" y="140"/>
                    </a:lnTo>
                    <a:lnTo>
                      <a:pt x="216" y="126"/>
                    </a:lnTo>
                    <a:lnTo>
                      <a:pt x="222" y="110"/>
                    </a:lnTo>
                    <a:lnTo>
                      <a:pt x="228" y="98"/>
                    </a:lnTo>
                    <a:lnTo>
                      <a:pt x="236" y="84"/>
                    </a:lnTo>
                    <a:lnTo>
                      <a:pt x="244" y="72"/>
                    </a:lnTo>
                    <a:lnTo>
                      <a:pt x="254" y="60"/>
                    </a:lnTo>
                    <a:lnTo>
                      <a:pt x="264" y="50"/>
                    </a:lnTo>
                    <a:lnTo>
                      <a:pt x="276" y="40"/>
                    </a:lnTo>
                    <a:lnTo>
                      <a:pt x="288" y="30"/>
                    </a:lnTo>
                    <a:lnTo>
                      <a:pt x="300" y="22"/>
                    </a:lnTo>
                    <a:lnTo>
                      <a:pt x="314" y="16"/>
                    </a:lnTo>
                    <a:lnTo>
                      <a:pt x="328" y="10"/>
                    </a:lnTo>
                    <a:lnTo>
                      <a:pt x="342" y="6"/>
                    </a:lnTo>
                    <a:lnTo>
                      <a:pt x="358" y="2"/>
                    </a:lnTo>
                    <a:lnTo>
                      <a:pt x="374" y="0"/>
                    </a:lnTo>
                    <a:lnTo>
                      <a:pt x="388" y="0"/>
                    </a:lnTo>
                    <a:lnTo>
                      <a:pt x="388" y="0"/>
                    </a:lnTo>
                    <a:lnTo>
                      <a:pt x="408" y="0"/>
                    </a:lnTo>
                    <a:lnTo>
                      <a:pt x="426" y="4"/>
                    </a:lnTo>
                    <a:lnTo>
                      <a:pt x="442" y="8"/>
                    </a:lnTo>
                    <a:lnTo>
                      <a:pt x="460" y="14"/>
                    </a:lnTo>
                    <a:lnTo>
                      <a:pt x="476" y="22"/>
                    </a:lnTo>
                    <a:lnTo>
                      <a:pt x="490" y="30"/>
                    </a:lnTo>
                    <a:lnTo>
                      <a:pt x="504" y="42"/>
                    </a:lnTo>
                    <a:lnTo>
                      <a:pt x="518" y="54"/>
                    </a:lnTo>
                    <a:lnTo>
                      <a:pt x="530" y="66"/>
                    </a:lnTo>
                    <a:lnTo>
                      <a:pt x="540" y="80"/>
                    </a:lnTo>
                    <a:lnTo>
                      <a:pt x="548" y="96"/>
                    </a:lnTo>
                    <a:lnTo>
                      <a:pt x="556" y="112"/>
                    </a:lnTo>
                    <a:lnTo>
                      <a:pt x="562" y="128"/>
                    </a:lnTo>
                    <a:lnTo>
                      <a:pt x="568" y="146"/>
                    </a:lnTo>
                    <a:lnTo>
                      <a:pt x="570" y="164"/>
                    </a:lnTo>
                    <a:lnTo>
                      <a:pt x="570" y="182"/>
                    </a:lnTo>
                    <a:lnTo>
                      <a:pt x="570" y="192"/>
                    </a:lnTo>
                    <a:lnTo>
                      <a:pt x="610" y="192"/>
                    </a:lnTo>
                    <a:lnTo>
                      <a:pt x="610" y="192"/>
                    </a:lnTo>
                    <a:lnTo>
                      <a:pt x="628" y="192"/>
                    </a:lnTo>
                    <a:lnTo>
                      <a:pt x="644" y="194"/>
                    </a:lnTo>
                    <a:lnTo>
                      <a:pt x="658" y="198"/>
                    </a:lnTo>
                    <a:lnTo>
                      <a:pt x="674" y="204"/>
                    </a:lnTo>
                    <a:lnTo>
                      <a:pt x="688" y="212"/>
                    </a:lnTo>
                    <a:lnTo>
                      <a:pt x="702" y="220"/>
                    </a:lnTo>
                    <a:lnTo>
                      <a:pt x="714" y="228"/>
                    </a:lnTo>
                    <a:lnTo>
                      <a:pt x="726" y="238"/>
                    </a:lnTo>
                    <a:lnTo>
                      <a:pt x="736" y="250"/>
                    </a:lnTo>
                    <a:lnTo>
                      <a:pt x="746" y="262"/>
                    </a:lnTo>
                    <a:lnTo>
                      <a:pt x="754" y="276"/>
                    </a:lnTo>
                    <a:lnTo>
                      <a:pt x="760" y="290"/>
                    </a:lnTo>
                    <a:lnTo>
                      <a:pt x="766" y="306"/>
                    </a:lnTo>
                    <a:lnTo>
                      <a:pt x="770" y="320"/>
                    </a:lnTo>
                    <a:lnTo>
                      <a:pt x="772" y="336"/>
                    </a:lnTo>
                    <a:lnTo>
                      <a:pt x="772" y="354"/>
                    </a:lnTo>
                    <a:lnTo>
                      <a:pt x="772" y="354"/>
                    </a:lnTo>
                    <a:lnTo>
                      <a:pt x="772" y="370"/>
                    </a:lnTo>
                    <a:lnTo>
                      <a:pt x="770" y="384"/>
                    </a:lnTo>
                    <a:lnTo>
                      <a:pt x="766" y="398"/>
                    </a:lnTo>
                    <a:lnTo>
                      <a:pt x="762" y="414"/>
                    </a:lnTo>
                    <a:lnTo>
                      <a:pt x="756" y="426"/>
                    </a:lnTo>
                    <a:lnTo>
                      <a:pt x="748" y="440"/>
                    </a:lnTo>
                    <a:lnTo>
                      <a:pt x="740" y="452"/>
                    </a:lnTo>
                    <a:lnTo>
                      <a:pt x="730" y="462"/>
                    </a:lnTo>
                    <a:lnTo>
                      <a:pt x="720" y="474"/>
                    </a:lnTo>
                    <a:lnTo>
                      <a:pt x="710" y="482"/>
                    </a:lnTo>
                    <a:lnTo>
                      <a:pt x="698" y="490"/>
                    </a:lnTo>
                    <a:lnTo>
                      <a:pt x="684" y="498"/>
                    </a:lnTo>
                    <a:lnTo>
                      <a:pt x="670" y="504"/>
                    </a:lnTo>
                    <a:lnTo>
                      <a:pt x="656" y="510"/>
                    </a:lnTo>
                    <a:lnTo>
                      <a:pt x="642" y="512"/>
                    </a:lnTo>
                    <a:lnTo>
                      <a:pt x="626" y="514"/>
                    </a:lnTo>
                    <a:lnTo>
                      <a:pt x="626" y="514"/>
                    </a:lnTo>
                    <a:lnTo>
                      <a:pt x="626" y="514"/>
                    </a:lnTo>
                    <a:lnTo>
                      <a:pt x="626" y="51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46">
                <a:extLst>
                  <a:ext uri="{FF2B5EF4-FFF2-40B4-BE49-F238E27FC236}">
                    <a16:creationId xmlns:a16="http://schemas.microsoft.com/office/drawing/2014/main" id="{1BC57655-5AC4-4587-96E0-6647E544445B}"/>
                  </a:ext>
                </a:extLst>
              </p:cNvPr>
              <p:cNvSpPr>
                <a:spLocks noEditPoints="1"/>
              </p:cNvSpPr>
              <p:nvPr/>
            </p:nvSpPr>
            <p:spPr bwMode="auto">
              <a:xfrm>
                <a:off x="5287963" y="5262563"/>
                <a:ext cx="654050" cy="657225"/>
              </a:xfrm>
              <a:custGeom>
                <a:avLst/>
                <a:gdLst>
                  <a:gd name="T0" fmla="*/ 168 w 412"/>
                  <a:gd name="T1" fmla="*/ 366 h 414"/>
                  <a:gd name="T2" fmla="*/ 120 w 412"/>
                  <a:gd name="T3" fmla="*/ 346 h 414"/>
                  <a:gd name="T4" fmla="*/ 66 w 412"/>
                  <a:gd name="T5" fmla="*/ 292 h 414"/>
                  <a:gd name="T6" fmla="*/ 48 w 412"/>
                  <a:gd name="T7" fmla="*/ 244 h 414"/>
                  <a:gd name="T8" fmla="*/ 48 w 412"/>
                  <a:gd name="T9" fmla="*/ 168 h 414"/>
                  <a:gd name="T10" fmla="*/ 66 w 412"/>
                  <a:gd name="T11" fmla="*/ 120 h 414"/>
                  <a:gd name="T12" fmla="*/ 120 w 412"/>
                  <a:gd name="T13" fmla="*/ 66 h 414"/>
                  <a:gd name="T14" fmla="*/ 168 w 412"/>
                  <a:gd name="T15" fmla="*/ 48 h 414"/>
                  <a:gd name="T16" fmla="*/ 244 w 412"/>
                  <a:gd name="T17" fmla="*/ 48 h 414"/>
                  <a:gd name="T18" fmla="*/ 292 w 412"/>
                  <a:gd name="T19" fmla="*/ 66 h 414"/>
                  <a:gd name="T20" fmla="*/ 346 w 412"/>
                  <a:gd name="T21" fmla="*/ 120 h 414"/>
                  <a:gd name="T22" fmla="*/ 366 w 412"/>
                  <a:gd name="T23" fmla="*/ 168 h 414"/>
                  <a:gd name="T24" fmla="*/ 366 w 412"/>
                  <a:gd name="T25" fmla="*/ 244 h 414"/>
                  <a:gd name="T26" fmla="*/ 346 w 412"/>
                  <a:gd name="T27" fmla="*/ 292 h 414"/>
                  <a:gd name="T28" fmla="*/ 292 w 412"/>
                  <a:gd name="T29" fmla="*/ 346 h 414"/>
                  <a:gd name="T30" fmla="*/ 244 w 412"/>
                  <a:gd name="T31" fmla="*/ 366 h 414"/>
                  <a:gd name="T32" fmla="*/ 226 w 412"/>
                  <a:gd name="T33" fmla="*/ 396 h 414"/>
                  <a:gd name="T34" fmla="*/ 234 w 412"/>
                  <a:gd name="T35" fmla="*/ 350 h 414"/>
                  <a:gd name="T36" fmla="*/ 276 w 412"/>
                  <a:gd name="T37" fmla="*/ 336 h 414"/>
                  <a:gd name="T38" fmla="*/ 326 w 412"/>
                  <a:gd name="T39" fmla="*/ 354 h 414"/>
                  <a:gd name="T40" fmla="*/ 328 w 412"/>
                  <a:gd name="T41" fmla="*/ 288 h 414"/>
                  <a:gd name="T42" fmla="*/ 342 w 412"/>
                  <a:gd name="T43" fmla="*/ 262 h 414"/>
                  <a:gd name="T44" fmla="*/ 352 w 412"/>
                  <a:gd name="T45" fmla="*/ 226 h 414"/>
                  <a:gd name="T46" fmla="*/ 352 w 412"/>
                  <a:gd name="T47" fmla="*/ 186 h 414"/>
                  <a:gd name="T48" fmla="*/ 346 w 412"/>
                  <a:gd name="T49" fmla="*/ 164 h 414"/>
                  <a:gd name="T50" fmla="*/ 328 w 412"/>
                  <a:gd name="T51" fmla="*/ 124 h 414"/>
                  <a:gd name="T52" fmla="*/ 326 w 412"/>
                  <a:gd name="T53" fmla="*/ 60 h 414"/>
                  <a:gd name="T54" fmla="*/ 288 w 412"/>
                  <a:gd name="T55" fmla="*/ 86 h 414"/>
                  <a:gd name="T56" fmla="*/ 248 w 412"/>
                  <a:gd name="T57" fmla="*/ 66 h 414"/>
                  <a:gd name="T58" fmla="*/ 226 w 412"/>
                  <a:gd name="T59" fmla="*/ 18 h 414"/>
                  <a:gd name="T60" fmla="*/ 178 w 412"/>
                  <a:gd name="T61" fmla="*/ 64 h 414"/>
                  <a:gd name="T62" fmla="*/ 150 w 412"/>
                  <a:gd name="T63" fmla="*/ 72 h 414"/>
                  <a:gd name="T64" fmla="*/ 118 w 412"/>
                  <a:gd name="T65" fmla="*/ 90 h 414"/>
                  <a:gd name="T66" fmla="*/ 90 w 412"/>
                  <a:gd name="T67" fmla="*/ 118 h 414"/>
                  <a:gd name="T68" fmla="*/ 78 w 412"/>
                  <a:gd name="T69" fmla="*/ 138 h 414"/>
                  <a:gd name="T70" fmla="*/ 64 w 412"/>
                  <a:gd name="T71" fmla="*/ 180 h 414"/>
                  <a:gd name="T72" fmla="*/ 18 w 412"/>
                  <a:gd name="T73" fmla="*/ 226 h 414"/>
                  <a:gd name="T74" fmla="*/ 64 w 412"/>
                  <a:gd name="T75" fmla="*/ 234 h 414"/>
                  <a:gd name="T76" fmla="*/ 78 w 412"/>
                  <a:gd name="T77" fmla="*/ 276 h 414"/>
                  <a:gd name="T78" fmla="*/ 58 w 412"/>
                  <a:gd name="T79" fmla="*/ 326 h 414"/>
                  <a:gd name="T80" fmla="*/ 124 w 412"/>
                  <a:gd name="T81" fmla="*/ 328 h 414"/>
                  <a:gd name="T82" fmla="*/ 150 w 412"/>
                  <a:gd name="T83" fmla="*/ 342 h 414"/>
                  <a:gd name="T84" fmla="*/ 186 w 412"/>
                  <a:gd name="T85" fmla="*/ 35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2" h="414">
                    <a:moveTo>
                      <a:pt x="244" y="414"/>
                    </a:moveTo>
                    <a:lnTo>
                      <a:pt x="168" y="414"/>
                    </a:lnTo>
                    <a:lnTo>
                      <a:pt x="168" y="366"/>
                    </a:lnTo>
                    <a:lnTo>
                      <a:pt x="168" y="366"/>
                    </a:lnTo>
                    <a:lnTo>
                      <a:pt x="144" y="358"/>
                    </a:lnTo>
                    <a:lnTo>
                      <a:pt x="120" y="346"/>
                    </a:lnTo>
                    <a:lnTo>
                      <a:pt x="88" y="380"/>
                    </a:lnTo>
                    <a:lnTo>
                      <a:pt x="34" y="326"/>
                    </a:lnTo>
                    <a:lnTo>
                      <a:pt x="66" y="292"/>
                    </a:lnTo>
                    <a:lnTo>
                      <a:pt x="66" y="292"/>
                    </a:lnTo>
                    <a:lnTo>
                      <a:pt x="54" y="270"/>
                    </a:lnTo>
                    <a:lnTo>
                      <a:pt x="48" y="244"/>
                    </a:lnTo>
                    <a:lnTo>
                      <a:pt x="0" y="244"/>
                    </a:lnTo>
                    <a:lnTo>
                      <a:pt x="0" y="168"/>
                    </a:lnTo>
                    <a:lnTo>
                      <a:pt x="48" y="168"/>
                    </a:lnTo>
                    <a:lnTo>
                      <a:pt x="48" y="168"/>
                    </a:lnTo>
                    <a:lnTo>
                      <a:pt x="54" y="144"/>
                    </a:lnTo>
                    <a:lnTo>
                      <a:pt x="66" y="120"/>
                    </a:lnTo>
                    <a:lnTo>
                      <a:pt x="34" y="88"/>
                    </a:lnTo>
                    <a:lnTo>
                      <a:pt x="88" y="34"/>
                    </a:lnTo>
                    <a:lnTo>
                      <a:pt x="120" y="66"/>
                    </a:lnTo>
                    <a:lnTo>
                      <a:pt x="120" y="66"/>
                    </a:lnTo>
                    <a:lnTo>
                      <a:pt x="144" y="56"/>
                    </a:lnTo>
                    <a:lnTo>
                      <a:pt x="168" y="48"/>
                    </a:lnTo>
                    <a:lnTo>
                      <a:pt x="168" y="0"/>
                    </a:lnTo>
                    <a:lnTo>
                      <a:pt x="244" y="0"/>
                    </a:lnTo>
                    <a:lnTo>
                      <a:pt x="244" y="48"/>
                    </a:lnTo>
                    <a:lnTo>
                      <a:pt x="244" y="48"/>
                    </a:lnTo>
                    <a:lnTo>
                      <a:pt x="270" y="56"/>
                    </a:lnTo>
                    <a:lnTo>
                      <a:pt x="292" y="66"/>
                    </a:lnTo>
                    <a:lnTo>
                      <a:pt x="326" y="34"/>
                    </a:lnTo>
                    <a:lnTo>
                      <a:pt x="380" y="88"/>
                    </a:lnTo>
                    <a:lnTo>
                      <a:pt x="346" y="120"/>
                    </a:lnTo>
                    <a:lnTo>
                      <a:pt x="346" y="120"/>
                    </a:lnTo>
                    <a:lnTo>
                      <a:pt x="358" y="144"/>
                    </a:lnTo>
                    <a:lnTo>
                      <a:pt x="366" y="168"/>
                    </a:lnTo>
                    <a:lnTo>
                      <a:pt x="412" y="168"/>
                    </a:lnTo>
                    <a:lnTo>
                      <a:pt x="412" y="244"/>
                    </a:lnTo>
                    <a:lnTo>
                      <a:pt x="366" y="244"/>
                    </a:lnTo>
                    <a:lnTo>
                      <a:pt x="366" y="244"/>
                    </a:lnTo>
                    <a:lnTo>
                      <a:pt x="358" y="270"/>
                    </a:lnTo>
                    <a:lnTo>
                      <a:pt x="346" y="292"/>
                    </a:lnTo>
                    <a:lnTo>
                      <a:pt x="380" y="326"/>
                    </a:lnTo>
                    <a:lnTo>
                      <a:pt x="326" y="380"/>
                    </a:lnTo>
                    <a:lnTo>
                      <a:pt x="292" y="346"/>
                    </a:lnTo>
                    <a:lnTo>
                      <a:pt x="292" y="346"/>
                    </a:lnTo>
                    <a:lnTo>
                      <a:pt x="270" y="358"/>
                    </a:lnTo>
                    <a:lnTo>
                      <a:pt x="244" y="366"/>
                    </a:lnTo>
                    <a:lnTo>
                      <a:pt x="244" y="414"/>
                    </a:lnTo>
                    <a:close/>
                    <a:moveTo>
                      <a:pt x="186" y="396"/>
                    </a:moveTo>
                    <a:lnTo>
                      <a:pt x="226" y="396"/>
                    </a:lnTo>
                    <a:lnTo>
                      <a:pt x="226" y="352"/>
                    </a:lnTo>
                    <a:lnTo>
                      <a:pt x="234" y="350"/>
                    </a:lnTo>
                    <a:lnTo>
                      <a:pt x="234" y="350"/>
                    </a:lnTo>
                    <a:lnTo>
                      <a:pt x="248" y="346"/>
                    </a:lnTo>
                    <a:lnTo>
                      <a:pt x="262" y="342"/>
                    </a:lnTo>
                    <a:lnTo>
                      <a:pt x="276" y="336"/>
                    </a:lnTo>
                    <a:lnTo>
                      <a:pt x="288" y="328"/>
                    </a:lnTo>
                    <a:lnTo>
                      <a:pt x="294" y="324"/>
                    </a:lnTo>
                    <a:lnTo>
                      <a:pt x="326" y="354"/>
                    </a:lnTo>
                    <a:lnTo>
                      <a:pt x="354" y="326"/>
                    </a:lnTo>
                    <a:lnTo>
                      <a:pt x="324" y="294"/>
                    </a:lnTo>
                    <a:lnTo>
                      <a:pt x="328" y="288"/>
                    </a:lnTo>
                    <a:lnTo>
                      <a:pt x="328" y="288"/>
                    </a:lnTo>
                    <a:lnTo>
                      <a:pt x="334" y="276"/>
                    </a:lnTo>
                    <a:lnTo>
                      <a:pt x="342" y="262"/>
                    </a:lnTo>
                    <a:lnTo>
                      <a:pt x="346" y="248"/>
                    </a:lnTo>
                    <a:lnTo>
                      <a:pt x="350" y="234"/>
                    </a:lnTo>
                    <a:lnTo>
                      <a:pt x="352" y="226"/>
                    </a:lnTo>
                    <a:lnTo>
                      <a:pt x="394" y="226"/>
                    </a:lnTo>
                    <a:lnTo>
                      <a:pt x="394" y="186"/>
                    </a:lnTo>
                    <a:lnTo>
                      <a:pt x="352" y="186"/>
                    </a:lnTo>
                    <a:lnTo>
                      <a:pt x="350" y="180"/>
                    </a:lnTo>
                    <a:lnTo>
                      <a:pt x="350" y="180"/>
                    </a:lnTo>
                    <a:lnTo>
                      <a:pt x="346" y="164"/>
                    </a:lnTo>
                    <a:lnTo>
                      <a:pt x="342" y="150"/>
                    </a:lnTo>
                    <a:lnTo>
                      <a:pt x="334" y="138"/>
                    </a:lnTo>
                    <a:lnTo>
                      <a:pt x="328" y="124"/>
                    </a:lnTo>
                    <a:lnTo>
                      <a:pt x="324" y="118"/>
                    </a:lnTo>
                    <a:lnTo>
                      <a:pt x="354" y="88"/>
                    </a:lnTo>
                    <a:lnTo>
                      <a:pt x="326" y="60"/>
                    </a:lnTo>
                    <a:lnTo>
                      <a:pt x="294" y="90"/>
                    </a:lnTo>
                    <a:lnTo>
                      <a:pt x="288" y="86"/>
                    </a:lnTo>
                    <a:lnTo>
                      <a:pt x="288" y="86"/>
                    </a:lnTo>
                    <a:lnTo>
                      <a:pt x="276" y="78"/>
                    </a:lnTo>
                    <a:lnTo>
                      <a:pt x="262" y="72"/>
                    </a:lnTo>
                    <a:lnTo>
                      <a:pt x="248" y="66"/>
                    </a:lnTo>
                    <a:lnTo>
                      <a:pt x="234" y="64"/>
                    </a:lnTo>
                    <a:lnTo>
                      <a:pt x="226" y="62"/>
                    </a:lnTo>
                    <a:lnTo>
                      <a:pt x="226" y="18"/>
                    </a:lnTo>
                    <a:lnTo>
                      <a:pt x="186" y="18"/>
                    </a:lnTo>
                    <a:lnTo>
                      <a:pt x="186" y="62"/>
                    </a:lnTo>
                    <a:lnTo>
                      <a:pt x="178" y="64"/>
                    </a:lnTo>
                    <a:lnTo>
                      <a:pt x="178" y="64"/>
                    </a:lnTo>
                    <a:lnTo>
                      <a:pt x="164" y="66"/>
                    </a:lnTo>
                    <a:lnTo>
                      <a:pt x="150" y="72"/>
                    </a:lnTo>
                    <a:lnTo>
                      <a:pt x="138" y="78"/>
                    </a:lnTo>
                    <a:lnTo>
                      <a:pt x="124" y="86"/>
                    </a:lnTo>
                    <a:lnTo>
                      <a:pt x="118" y="90"/>
                    </a:lnTo>
                    <a:lnTo>
                      <a:pt x="88" y="60"/>
                    </a:lnTo>
                    <a:lnTo>
                      <a:pt x="58" y="88"/>
                    </a:lnTo>
                    <a:lnTo>
                      <a:pt x="90" y="118"/>
                    </a:lnTo>
                    <a:lnTo>
                      <a:pt x="86" y="124"/>
                    </a:lnTo>
                    <a:lnTo>
                      <a:pt x="86" y="124"/>
                    </a:lnTo>
                    <a:lnTo>
                      <a:pt x="78" y="138"/>
                    </a:lnTo>
                    <a:lnTo>
                      <a:pt x="72" y="150"/>
                    </a:lnTo>
                    <a:lnTo>
                      <a:pt x="66" y="164"/>
                    </a:lnTo>
                    <a:lnTo>
                      <a:pt x="64" y="180"/>
                    </a:lnTo>
                    <a:lnTo>
                      <a:pt x="62" y="186"/>
                    </a:lnTo>
                    <a:lnTo>
                      <a:pt x="18" y="186"/>
                    </a:lnTo>
                    <a:lnTo>
                      <a:pt x="18" y="226"/>
                    </a:lnTo>
                    <a:lnTo>
                      <a:pt x="62" y="226"/>
                    </a:lnTo>
                    <a:lnTo>
                      <a:pt x="64" y="234"/>
                    </a:lnTo>
                    <a:lnTo>
                      <a:pt x="64" y="234"/>
                    </a:lnTo>
                    <a:lnTo>
                      <a:pt x="66" y="248"/>
                    </a:lnTo>
                    <a:lnTo>
                      <a:pt x="72" y="262"/>
                    </a:lnTo>
                    <a:lnTo>
                      <a:pt x="78" y="276"/>
                    </a:lnTo>
                    <a:lnTo>
                      <a:pt x="86" y="288"/>
                    </a:lnTo>
                    <a:lnTo>
                      <a:pt x="90" y="294"/>
                    </a:lnTo>
                    <a:lnTo>
                      <a:pt x="58" y="326"/>
                    </a:lnTo>
                    <a:lnTo>
                      <a:pt x="88" y="354"/>
                    </a:lnTo>
                    <a:lnTo>
                      <a:pt x="118" y="324"/>
                    </a:lnTo>
                    <a:lnTo>
                      <a:pt x="124" y="328"/>
                    </a:lnTo>
                    <a:lnTo>
                      <a:pt x="124" y="328"/>
                    </a:lnTo>
                    <a:lnTo>
                      <a:pt x="138" y="336"/>
                    </a:lnTo>
                    <a:lnTo>
                      <a:pt x="150" y="342"/>
                    </a:lnTo>
                    <a:lnTo>
                      <a:pt x="164" y="346"/>
                    </a:lnTo>
                    <a:lnTo>
                      <a:pt x="178" y="350"/>
                    </a:lnTo>
                    <a:lnTo>
                      <a:pt x="186" y="352"/>
                    </a:lnTo>
                    <a:lnTo>
                      <a:pt x="186" y="3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47">
                <a:extLst>
                  <a:ext uri="{FF2B5EF4-FFF2-40B4-BE49-F238E27FC236}">
                    <a16:creationId xmlns:a16="http://schemas.microsoft.com/office/drawing/2014/main" id="{22788394-BBCB-4C42-B8CB-63333547376A}"/>
                  </a:ext>
                </a:extLst>
              </p:cNvPr>
              <p:cNvSpPr>
                <a:spLocks noEditPoints="1"/>
              </p:cNvSpPr>
              <p:nvPr/>
            </p:nvSpPr>
            <p:spPr bwMode="auto">
              <a:xfrm>
                <a:off x="5440363" y="5418138"/>
                <a:ext cx="349250" cy="346075"/>
              </a:xfrm>
              <a:custGeom>
                <a:avLst/>
                <a:gdLst>
                  <a:gd name="T0" fmla="*/ 110 w 220"/>
                  <a:gd name="T1" fmla="*/ 218 h 218"/>
                  <a:gd name="T2" fmla="*/ 68 w 220"/>
                  <a:gd name="T3" fmla="*/ 210 h 218"/>
                  <a:gd name="T4" fmla="*/ 34 w 220"/>
                  <a:gd name="T5" fmla="*/ 186 h 218"/>
                  <a:gd name="T6" fmla="*/ 10 w 220"/>
                  <a:gd name="T7" fmla="*/ 152 h 218"/>
                  <a:gd name="T8" fmla="*/ 0 w 220"/>
                  <a:gd name="T9" fmla="*/ 108 h 218"/>
                  <a:gd name="T10" fmla="*/ 4 w 220"/>
                  <a:gd name="T11" fmla="*/ 86 h 218"/>
                  <a:gd name="T12" fmla="*/ 20 w 220"/>
                  <a:gd name="T13" fmla="*/ 48 h 218"/>
                  <a:gd name="T14" fmla="*/ 50 w 220"/>
                  <a:gd name="T15" fmla="*/ 18 h 218"/>
                  <a:gd name="T16" fmla="*/ 88 w 220"/>
                  <a:gd name="T17" fmla="*/ 2 h 218"/>
                  <a:gd name="T18" fmla="*/ 110 w 220"/>
                  <a:gd name="T19" fmla="*/ 0 h 218"/>
                  <a:gd name="T20" fmla="*/ 154 w 220"/>
                  <a:gd name="T21" fmla="*/ 8 h 218"/>
                  <a:gd name="T22" fmla="*/ 188 w 220"/>
                  <a:gd name="T23" fmla="*/ 32 h 218"/>
                  <a:gd name="T24" fmla="*/ 212 w 220"/>
                  <a:gd name="T25" fmla="*/ 66 h 218"/>
                  <a:gd name="T26" fmla="*/ 220 w 220"/>
                  <a:gd name="T27" fmla="*/ 108 h 218"/>
                  <a:gd name="T28" fmla="*/ 218 w 220"/>
                  <a:gd name="T29" fmla="*/ 130 h 218"/>
                  <a:gd name="T30" fmla="*/ 202 w 220"/>
                  <a:gd name="T31" fmla="*/ 170 h 218"/>
                  <a:gd name="T32" fmla="*/ 172 w 220"/>
                  <a:gd name="T33" fmla="*/ 200 h 218"/>
                  <a:gd name="T34" fmla="*/ 132 w 220"/>
                  <a:gd name="T35" fmla="*/ 216 h 218"/>
                  <a:gd name="T36" fmla="*/ 110 w 220"/>
                  <a:gd name="T37" fmla="*/ 218 h 218"/>
                  <a:gd name="T38" fmla="*/ 110 w 220"/>
                  <a:gd name="T39" fmla="*/ 18 h 218"/>
                  <a:gd name="T40" fmla="*/ 74 w 220"/>
                  <a:gd name="T41" fmla="*/ 24 h 218"/>
                  <a:gd name="T42" fmla="*/ 46 w 220"/>
                  <a:gd name="T43" fmla="*/ 44 h 218"/>
                  <a:gd name="T44" fmla="*/ 26 w 220"/>
                  <a:gd name="T45" fmla="*/ 74 h 218"/>
                  <a:gd name="T46" fmla="*/ 18 w 220"/>
                  <a:gd name="T47" fmla="*/ 108 h 218"/>
                  <a:gd name="T48" fmla="*/ 20 w 220"/>
                  <a:gd name="T49" fmla="*/ 128 h 218"/>
                  <a:gd name="T50" fmla="*/ 34 w 220"/>
                  <a:gd name="T51" fmla="*/ 160 h 218"/>
                  <a:gd name="T52" fmla="*/ 60 w 220"/>
                  <a:gd name="T53" fmla="*/ 184 h 218"/>
                  <a:gd name="T54" fmla="*/ 92 w 220"/>
                  <a:gd name="T55" fmla="*/ 198 h 218"/>
                  <a:gd name="T56" fmla="*/ 110 w 220"/>
                  <a:gd name="T57" fmla="*/ 200 h 218"/>
                  <a:gd name="T58" fmla="*/ 146 w 220"/>
                  <a:gd name="T59" fmla="*/ 192 h 218"/>
                  <a:gd name="T60" fmla="*/ 176 w 220"/>
                  <a:gd name="T61" fmla="*/ 174 h 218"/>
                  <a:gd name="T62" fmla="*/ 194 w 220"/>
                  <a:gd name="T63" fmla="*/ 144 h 218"/>
                  <a:gd name="T64" fmla="*/ 202 w 220"/>
                  <a:gd name="T65" fmla="*/ 108 h 218"/>
                  <a:gd name="T66" fmla="*/ 200 w 220"/>
                  <a:gd name="T67" fmla="*/ 90 h 218"/>
                  <a:gd name="T68" fmla="*/ 186 w 220"/>
                  <a:gd name="T69" fmla="*/ 58 h 218"/>
                  <a:gd name="T70" fmla="*/ 162 w 220"/>
                  <a:gd name="T71" fmla="*/ 32 h 218"/>
                  <a:gd name="T72" fmla="*/ 128 w 220"/>
                  <a:gd name="T73" fmla="*/ 20 h 218"/>
                  <a:gd name="T74" fmla="*/ 110 w 220"/>
                  <a:gd name="T75"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0" h="218">
                    <a:moveTo>
                      <a:pt x="110" y="218"/>
                    </a:moveTo>
                    <a:lnTo>
                      <a:pt x="110" y="218"/>
                    </a:lnTo>
                    <a:lnTo>
                      <a:pt x="88" y="216"/>
                    </a:lnTo>
                    <a:lnTo>
                      <a:pt x="68" y="210"/>
                    </a:lnTo>
                    <a:lnTo>
                      <a:pt x="50" y="200"/>
                    </a:lnTo>
                    <a:lnTo>
                      <a:pt x="34" y="186"/>
                    </a:lnTo>
                    <a:lnTo>
                      <a:pt x="20" y="170"/>
                    </a:lnTo>
                    <a:lnTo>
                      <a:pt x="10" y="152"/>
                    </a:lnTo>
                    <a:lnTo>
                      <a:pt x="4" y="130"/>
                    </a:lnTo>
                    <a:lnTo>
                      <a:pt x="0" y="108"/>
                    </a:lnTo>
                    <a:lnTo>
                      <a:pt x="0" y="108"/>
                    </a:lnTo>
                    <a:lnTo>
                      <a:pt x="4" y="86"/>
                    </a:lnTo>
                    <a:lnTo>
                      <a:pt x="10" y="66"/>
                    </a:lnTo>
                    <a:lnTo>
                      <a:pt x="20" y="48"/>
                    </a:lnTo>
                    <a:lnTo>
                      <a:pt x="34" y="32"/>
                    </a:lnTo>
                    <a:lnTo>
                      <a:pt x="50" y="18"/>
                    </a:lnTo>
                    <a:lnTo>
                      <a:pt x="68" y="8"/>
                    </a:lnTo>
                    <a:lnTo>
                      <a:pt x="88" y="2"/>
                    </a:lnTo>
                    <a:lnTo>
                      <a:pt x="110" y="0"/>
                    </a:lnTo>
                    <a:lnTo>
                      <a:pt x="110" y="0"/>
                    </a:lnTo>
                    <a:lnTo>
                      <a:pt x="132" y="2"/>
                    </a:lnTo>
                    <a:lnTo>
                      <a:pt x="154" y="8"/>
                    </a:lnTo>
                    <a:lnTo>
                      <a:pt x="172" y="18"/>
                    </a:lnTo>
                    <a:lnTo>
                      <a:pt x="188" y="32"/>
                    </a:lnTo>
                    <a:lnTo>
                      <a:pt x="202" y="48"/>
                    </a:lnTo>
                    <a:lnTo>
                      <a:pt x="212" y="66"/>
                    </a:lnTo>
                    <a:lnTo>
                      <a:pt x="218" y="86"/>
                    </a:lnTo>
                    <a:lnTo>
                      <a:pt x="220" y="108"/>
                    </a:lnTo>
                    <a:lnTo>
                      <a:pt x="220" y="108"/>
                    </a:lnTo>
                    <a:lnTo>
                      <a:pt x="218" y="130"/>
                    </a:lnTo>
                    <a:lnTo>
                      <a:pt x="212" y="152"/>
                    </a:lnTo>
                    <a:lnTo>
                      <a:pt x="202" y="170"/>
                    </a:lnTo>
                    <a:lnTo>
                      <a:pt x="188" y="186"/>
                    </a:lnTo>
                    <a:lnTo>
                      <a:pt x="172" y="200"/>
                    </a:lnTo>
                    <a:lnTo>
                      <a:pt x="154" y="210"/>
                    </a:lnTo>
                    <a:lnTo>
                      <a:pt x="132" y="216"/>
                    </a:lnTo>
                    <a:lnTo>
                      <a:pt x="110" y="218"/>
                    </a:lnTo>
                    <a:lnTo>
                      <a:pt x="110" y="218"/>
                    </a:lnTo>
                    <a:close/>
                    <a:moveTo>
                      <a:pt x="110" y="18"/>
                    </a:moveTo>
                    <a:lnTo>
                      <a:pt x="110" y="18"/>
                    </a:lnTo>
                    <a:lnTo>
                      <a:pt x="92" y="20"/>
                    </a:lnTo>
                    <a:lnTo>
                      <a:pt x="74" y="24"/>
                    </a:lnTo>
                    <a:lnTo>
                      <a:pt x="60" y="32"/>
                    </a:lnTo>
                    <a:lnTo>
                      <a:pt x="46" y="44"/>
                    </a:lnTo>
                    <a:lnTo>
                      <a:pt x="34" y="58"/>
                    </a:lnTo>
                    <a:lnTo>
                      <a:pt x="26" y="74"/>
                    </a:lnTo>
                    <a:lnTo>
                      <a:pt x="20" y="90"/>
                    </a:lnTo>
                    <a:lnTo>
                      <a:pt x="18" y="108"/>
                    </a:lnTo>
                    <a:lnTo>
                      <a:pt x="18" y="108"/>
                    </a:lnTo>
                    <a:lnTo>
                      <a:pt x="20" y="128"/>
                    </a:lnTo>
                    <a:lnTo>
                      <a:pt x="26" y="144"/>
                    </a:lnTo>
                    <a:lnTo>
                      <a:pt x="34" y="160"/>
                    </a:lnTo>
                    <a:lnTo>
                      <a:pt x="46" y="174"/>
                    </a:lnTo>
                    <a:lnTo>
                      <a:pt x="60" y="184"/>
                    </a:lnTo>
                    <a:lnTo>
                      <a:pt x="74" y="192"/>
                    </a:lnTo>
                    <a:lnTo>
                      <a:pt x="92" y="198"/>
                    </a:lnTo>
                    <a:lnTo>
                      <a:pt x="110" y="200"/>
                    </a:lnTo>
                    <a:lnTo>
                      <a:pt x="110" y="200"/>
                    </a:lnTo>
                    <a:lnTo>
                      <a:pt x="128" y="198"/>
                    </a:lnTo>
                    <a:lnTo>
                      <a:pt x="146" y="192"/>
                    </a:lnTo>
                    <a:lnTo>
                      <a:pt x="162" y="184"/>
                    </a:lnTo>
                    <a:lnTo>
                      <a:pt x="176" y="174"/>
                    </a:lnTo>
                    <a:lnTo>
                      <a:pt x="186" y="160"/>
                    </a:lnTo>
                    <a:lnTo>
                      <a:pt x="194" y="144"/>
                    </a:lnTo>
                    <a:lnTo>
                      <a:pt x="200" y="128"/>
                    </a:lnTo>
                    <a:lnTo>
                      <a:pt x="202" y="108"/>
                    </a:lnTo>
                    <a:lnTo>
                      <a:pt x="202" y="108"/>
                    </a:lnTo>
                    <a:lnTo>
                      <a:pt x="200" y="90"/>
                    </a:lnTo>
                    <a:lnTo>
                      <a:pt x="194" y="74"/>
                    </a:lnTo>
                    <a:lnTo>
                      <a:pt x="186" y="58"/>
                    </a:lnTo>
                    <a:lnTo>
                      <a:pt x="176" y="44"/>
                    </a:lnTo>
                    <a:lnTo>
                      <a:pt x="162" y="32"/>
                    </a:lnTo>
                    <a:lnTo>
                      <a:pt x="146" y="24"/>
                    </a:lnTo>
                    <a:lnTo>
                      <a:pt x="128" y="20"/>
                    </a:lnTo>
                    <a:lnTo>
                      <a:pt x="110" y="18"/>
                    </a:lnTo>
                    <a:lnTo>
                      <a:pt x="110"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48">
                <a:extLst>
                  <a:ext uri="{FF2B5EF4-FFF2-40B4-BE49-F238E27FC236}">
                    <a16:creationId xmlns:a16="http://schemas.microsoft.com/office/drawing/2014/main" id="{4F774E6C-32C6-4497-9FF4-F613D95A8948}"/>
                  </a:ext>
                </a:extLst>
              </p:cNvPr>
              <p:cNvSpPr>
                <a:spLocks/>
              </p:cNvSpPr>
              <p:nvPr/>
            </p:nvSpPr>
            <p:spPr bwMode="auto">
              <a:xfrm>
                <a:off x="5119688" y="5132388"/>
                <a:ext cx="123825" cy="123825"/>
              </a:xfrm>
              <a:custGeom>
                <a:avLst/>
                <a:gdLst>
                  <a:gd name="T0" fmla="*/ 10 w 78"/>
                  <a:gd name="T1" fmla="*/ 78 h 78"/>
                  <a:gd name="T2" fmla="*/ 10 w 78"/>
                  <a:gd name="T3" fmla="*/ 78 h 78"/>
                  <a:gd name="T4" fmla="*/ 6 w 78"/>
                  <a:gd name="T5" fmla="*/ 78 h 78"/>
                  <a:gd name="T6" fmla="*/ 4 w 78"/>
                  <a:gd name="T7" fmla="*/ 76 h 78"/>
                  <a:gd name="T8" fmla="*/ 2 w 78"/>
                  <a:gd name="T9" fmla="*/ 72 h 78"/>
                  <a:gd name="T10" fmla="*/ 0 w 78"/>
                  <a:gd name="T11" fmla="*/ 70 h 78"/>
                  <a:gd name="T12" fmla="*/ 0 w 78"/>
                  <a:gd name="T13" fmla="*/ 70 h 78"/>
                  <a:gd name="T14" fmla="*/ 2 w 78"/>
                  <a:gd name="T15" fmla="*/ 56 h 78"/>
                  <a:gd name="T16" fmla="*/ 6 w 78"/>
                  <a:gd name="T17" fmla="*/ 42 h 78"/>
                  <a:gd name="T18" fmla="*/ 12 w 78"/>
                  <a:gd name="T19" fmla="*/ 30 h 78"/>
                  <a:gd name="T20" fmla="*/ 20 w 78"/>
                  <a:gd name="T21" fmla="*/ 20 h 78"/>
                  <a:gd name="T22" fmla="*/ 30 w 78"/>
                  <a:gd name="T23" fmla="*/ 12 h 78"/>
                  <a:gd name="T24" fmla="*/ 42 w 78"/>
                  <a:gd name="T25" fmla="*/ 6 h 78"/>
                  <a:gd name="T26" fmla="*/ 56 w 78"/>
                  <a:gd name="T27" fmla="*/ 2 h 78"/>
                  <a:gd name="T28" fmla="*/ 70 w 78"/>
                  <a:gd name="T29" fmla="*/ 0 h 78"/>
                  <a:gd name="T30" fmla="*/ 70 w 78"/>
                  <a:gd name="T31" fmla="*/ 0 h 78"/>
                  <a:gd name="T32" fmla="*/ 72 w 78"/>
                  <a:gd name="T33" fmla="*/ 2 h 78"/>
                  <a:gd name="T34" fmla="*/ 76 w 78"/>
                  <a:gd name="T35" fmla="*/ 4 h 78"/>
                  <a:gd name="T36" fmla="*/ 78 w 78"/>
                  <a:gd name="T37" fmla="*/ 6 h 78"/>
                  <a:gd name="T38" fmla="*/ 78 w 78"/>
                  <a:gd name="T39" fmla="*/ 10 h 78"/>
                  <a:gd name="T40" fmla="*/ 78 w 78"/>
                  <a:gd name="T41" fmla="*/ 10 h 78"/>
                  <a:gd name="T42" fmla="*/ 78 w 78"/>
                  <a:gd name="T43" fmla="*/ 14 h 78"/>
                  <a:gd name="T44" fmla="*/ 76 w 78"/>
                  <a:gd name="T45" fmla="*/ 16 h 78"/>
                  <a:gd name="T46" fmla="*/ 72 w 78"/>
                  <a:gd name="T47" fmla="*/ 18 h 78"/>
                  <a:gd name="T48" fmla="*/ 70 w 78"/>
                  <a:gd name="T49" fmla="*/ 18 h 78"/>
                  <a:gd name="T50" fmla="*/ 70 w 78"/>
                  <a:gd name="T51" fmla="*/ 18 h 78"/>
                  <a:gd name="T52" fmla="*/ 60 w 78"/>
                  <a:gd name="T53" fmla="*/ 20 h 78"/>
                  <a:gd name="T54" fmla="*/ 50 w 78"/>
                  <a:gd name="T55" fmla="*/ 22 h 78"/>
                  <a:gd name="T56" fmla="*/ 40 w 78"/>
                  <a:gd name="T57" fmla="*/ 28 h 78"/>
                  <a:gd name="T58" fmla="*/ 34 w 78"/>
                  <a:gd name="T59" fmla="*/ 34 h 78"/>
                  <a:gd name="T60" fmla="*/ 28 w 78"/>
                  <a:gd name="T61" fmla="*/ 40 h 78"/>
                  <a:gd name="T62" fmla="*/ 22 w 78"/>
                  <a:gd name="T63" fmla="*/ 50 h 78"/>
                  <a:gd name="T64" fmla="*/ 20 w 78"/>
                  <a:gd name="T65" fmla="*/ 60 h 78"/>
                  <a:gd name="T66" fmla="*/ 18 w 78"/>
                  <a:gd name="T67" fmla="*/ 70 h 78"/>
                  <a:gd name="T68" fmla="*/ 18 w 78"/>
                  <a:gd name="T69" fmla="*/ 70 h 78"/>
                  <a:gd name="T70" fmla="*/ 18 w 78"/>
                  <a:gd name="T71" fmla="*/ 72 h 78"/>
                  <a:gd name="T72" fmla="*/ 16 w 78"/>
                  <a:gd name="T73" fmla="*/ 76 h 78"/>
                  <a:gd name="T74" fmla="*/ 14 w 78"/>
                  <a:gd name="T75" fmla="*/ 78 h 78"/>
                  <a:gd name="T76" fmla="*/ 10 w 78"/>
                  <a:gd name="T77" fmla="*/ 78 h 78"/>
                  <a:gd name="T78" fmla="*/ 10 w 78"/>
                  <a:gd name="T7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8">
                    <a:moveTo>
                      <a:pt x="10" y="78"/>
                    </a:moveTo>
                    <a:lnTo>
                      <a:pt x="10" y="78"/>
                    </a:lnTo>
                    <a:lnTo>
                      <a:pt x="6" y="78"/>
                    </a:lnTo>
                    <a:lnTo>
                      <a:pt x="4" y="76"/>
                    </a:lnTo>
                    <a:lnTo>
                      <a:pt x="2" y="72"/>
                    </a:lnTo>
                    <a:lnTo>
                      <a:pt x="0" y="70"/>
                    </a:lnTo>
                    <a:lnTo>
                      <a:pt x="0" y="70"/>
                    </a:lnTo>
                    <a:lnTo>
                      <a:pt x="2" y="56"/>
                    </a:lnTo>
                    <a:lnTo>
                      <a:pt x="6" y="42"/>
                    </a:lnTo>
                    <a:lnTo>
                      <a:pt x="12" y="30"/>
                    </a:lnTo>
                    <a:lnTo>
                      <a:pt x="20" y="20"/>
                    </a:lnTo>
                    <a:lnTo>
                      <a:pt x="30" y="12"/>
                    </a:lnTo>
                    <a:lnTo>
                      <a:pt x="42" y="6"/>
                    </a:lnTo>
                    <a:lnTo>
                      <a:pt x="56" y="2"/>
                    </a:lnTo>
                    <a:lnTo>
                      <a:pt x="70" y="0"/>
                    </a:lnTo>
                    <a:lnTo>
                      <a:pt x="70" y="0"/>
                    </a:lnTo>
                    <a:lnTo>
                      <a:pt x="72" y="2"/>
                    </a:lnTo>
                    <a:lnTo>
                      <a:pt x="76" y="4"/>
                    </a:lnTo>
                    <a:lnTo>
                      <a:pt x="78" y="6"/>
                    </a:lnTo>
                    <a:lnTo>
                      <a:pt x="78" y="10"/>
                    </a:lnTo>
                    <a:lnTo>
                      <a:pt x="78" y="10"/>
                    </a:lnTo>
                    <a:lnTo>
                      <a:pt x="78" y="14"/>
                    </a:lnTo>
                    <a:lnTo>
                      <a:pt x="76" y="16"/>
                    </a:lnTo>
                    <a:lnTo>
                      <a:pt x="72" y="18"/>
                    </a:lnTo>
                    <a:lnTo>
                      <a:pt x="70" y="18"/>
                    </a:lnTo>
                    <a:lnTo>
                      <a:pt x="70" y="18"/>
                    </a:lnTo>
                    <a:lnTo>
                      <a:pt x="60" y="20"/>
                    </a:lnTo>
                    <a:lnTo>
                      <a:pt x="50" y="22"/>
                    </a:lnTo>
                    <a:lnTo>
                      <a:pt x="40" y="28"/>
                    </a:lnTo>
                    <a:lnTo>
                      <a:pt x="34" y="34"/>
                    </a:lnTo>
                    <a:lnTo>
                      <a:pt x="28" y="40"/>
                    </a:lnTo>
                    <a:lnTo>
                      <a:pt x="22" y="50"/>
                    </a:lnTo>
                    <a:lnTo>
                      <a:pt x="20" y="60"/>
                    </a:lnTo>
                    <a:lnTo>
                      <a:pt x="18" y="70"/>
                    </a:lnTo>
                    <a:lnTo>
                      <a:pt x="18" y="70"/>
                    </a:lnTo>
                    <a:lnTo>
                      <a:pt x="18" y="72"/>
                    </a:lnTo>
                    <a:lnTo>
                      <a:pt x="16" y="76"/>
                    </a:lnTo>
                    <a:lnTo>
                      <a:pt x="14" y="78"/>
                    </a:lnTo>
                    <a:lnTo>
                      <a:pt x="10" y="78"/>
                    </a:lnTo>
                    <a:lnTo>
                      <a:pt x="1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42" name="Graphic 141">
              <a:extLst>
                <a:ext uri="{FF2B5EF4-FFF2-40B4-BE49-F238E27FC236}">
                  <a16:creationId xmlns:a16="http://schemas.microsoft.com/office/drawing/2014/main" id="{4D190AE9-6719-4932-94D0-0267E61245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63799" y="3755163"/>
              <a:ext cx="776641" cy="788589"/>
            </a:xfrm>
            <a:prstGeom prst="rect">
              <a:avLst/>
            </a:prstGeom>
          </p:spPr>
        </p:pic>
        <p:sp>
          <p:nvSpPr>
            <p:cNvPr id="143" name="Rectangle 142">
              <a:extLst>
                <a:ext uri="{FF2B5EF4-FFF2-40B4-BE49-F238E27FC236}">
                  <a16:creationId xmlns:a16="http://schemas.microsoft.com/office/drawing/2014/main" id="{4A133F82-2A31-4E1D-8185-295BAF37B19F}"/>
                </a:ext>
              </a:extLst>
            </p:cNvPr>
            <p:cNvSpPr/>
            <p:nvPr/>
          </p:nvSpPr>
          <p:spPr>
            <a:xfrm>
              <a:off x="3031955" y="2294467"/>
              <a:ext cx="1878542" cy="2196253"/>
            </a:xfrm>
            <a:prstGeom prst="rect">
              <a:avLst/>
            </a:prstGeom>
            <a:noFill/>
            <a:ln w="9525">
              <a:solidFill>
                <a:srgbClr val="73BA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44" name="TextBox 143">
              <a:extLst>
                <a:ext uri="{FF2B5EF4-FFF2-40B4-BE49-F238E27FC236}">
                  <a16:creationId xmlns:a16="http://schemas.microsoft.com/office/drawing/2014/main" id="{57D819D0-C82B-429D-93E4-9FB49EB7DD21}"/>
                </a:ext>
              </a:extLst>
            </p:cNvPr>
            <p:cNvSpPr txBox="1"/>
            <p:nvPr/>
          </p:nvSpPr>
          <p:spPr>
            <a:xfrm>
              <a:off x="3299150" y="2701250"/>
              <a:ext cx="1299210" cy="498584"/>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200" dirty="0">
                  <a:solidFill>
                    <a:schemeClr val="bg1"/>
                  </a:solidFill>
                  <a:latin typeface="EYInterstate" panose="02000503020000020004" pitchFamily="2" charset="0"/>
                </a:rPr>
                <a:t>Digital signatures/ time stamping</a:t>
              </a:r>
            </a:p>
          </p:txBody>
        </p:sp>
        <p:sp>
          <p:nvSpPr>
            <p:cNvPr id="145" name="TextBox 144">
              <a:extLst>
                <a:ext uri="{FF2B5EF4-FFF2-40B4-BE49-F238E27FC236}">
                  <a16:creationId xmlns:a16="http://schemas.microsoft.com/office/drawing/2014/main" id="{67A1EAD6-1F6B-4E1F-AC48-7B9C94750B35}"/>
                </a:ext>
              </a:extLst>
            </p:cNvPr>
            <p:cNvSpPr txBox="1"/>
            <p:nvPr/>
          </p:nvSpPr>
          <p:spPr>
            <a:xfrm>
              <a:off x="3118517" y="3271987"/>
              <a:ext cx="1593013" cy="923330"/>
            </a:xfrm>
            <a:prstGeom prst="rect">
              <a:avLst/>
            </a:prstGeom>
            <a:noFill/>
          </p:spPr>
          <p:txBody>
            <a:bodyPr wrap="square" lIns="0" tIns="0" rIns="0" bIns="0" rtlCol="0" anchor="t">
              <a:spAutoFit/>
            </a:bodyPr>
            <a:lstStyle/>
            <a:p>
              <a:pPr marL="90439"/>
              <a:r>
                <a:rPr lang="en-US" sz="1000" kern="0" dirty="0">
                  <a:solidFill>
                    <a:schemeClr val="bg1"/>
                  </a:solidFill>
                  <a:cs typeface="Arial"/>
                </a:rPr>
                <a:t>Due to digital signatures and time stamping it is impossible to double spend on the blockchain, and enables everyone to verify data.</a:t>
              </a:r>
            </a:p>
          </p:txBody>
        </p:sp>
        <p:sp>
          <p:nvSpPr>
            <p:cNvPr id="146" name="Oval 145">
              <a:extLst>
                <a:ext uri="{FF2B5EF4-FFF2-40B4-BE49-F238E27FC236}">
                  <a16:creationId xmlns:a16="http://schemas.microsoft.com/office/drawing/2014/main" id="{3E386584-BCFA-4AE9-9119-A65CB9714E40}"/>
                </a:ext>
              </a:extLst>
            </p:cNvPr>
            <p:cNvSpPr/>
            <p:nvPr/>
          </p:nvSpPr>
          <p:spPr>
            <a:xfrm>
              <a:off x="3582906" y="1906146"/>
              <a:ext cx="776641" cy="776641"/>
            </a:xfrm>
            <a:prstGeom prst="ellipse">
              <a:avLst/>
            </a:prstGeom>
            <a:solidFill>
              <a:srgbClr val="73BAF0"/>
            </a:solidFill>
            <a:ln w="9525">
              <a:solidFill>
                <a:srgbClr val="73BA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46" name="Group 45">
              <a:extLst>
                <a:ext uri="{FF2B5EF4-FFF2-40B4-BE49-F238E27FC236}">
                  <a16:creationId xmlns:a16="http://schemas.microsoft.com/office/drawing/2014/main" id="{662FE6C0-F4A5-4CBF-B3CE-F30BB53BE23F}"/>
                </a:ext>
              </a:extLst>
            </p:cNvPr>
            <p:cNvGrpSpPr/>
            <p:nvPr/>
          </p:nvGrpSpPr>
          <p:grpSpPr>
            <a:xfrm>
              <a:off x="3752976" y="2118213"/>
              <a:ext cx="424115" cy="394060"/>
              <a:chOff x="2514600" y="4727575"/>
              <a:chExt cx="1209675" cy="1123950"/>
            </a:xfrm>
          </p:grpSpPr>
          <p:sp>
            <p:nvSpPr>
              <p:cNvPr id="47" name="Freeform 5">
                <a:extLst>
                  <a:ext uri="{FF2B5EF4-FFF2-40B4-BE49-F238E27FC236}">
                    <a16:creationId xmlns:a16="http://schemas.microsoft.com/office/drawing/2014/main" id="{A667E7D0-3025-4BEA-A9FD-FD2CC2F72AA0}"/>
                  </a:ext>
                </a:extLst>
              </p:cNvPr>
              <p:cNvSpPr>
                <a:spLocks noEditPoints="1"/>
              </p:cNvSpPr>
              <p:nvPr/>
            </p:nvSpPr>
            <p:spPr bwMode="auto">
              <a:xfrm>
                <a:off x="2514600" y="4727575"/>
                <a:ext cx="1209675" cy="803275"/>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6">
                <a:extLst>
                  <a:ext uri="{FF2B5EF4-FFF2-40B4-BE49-F238E27FC236}">
                    <a16:creationId xmlns:a16="http://schemas.microsoft.com/office/drawing/2014/main" id="{CC5AE7F2-02A1-48A6-8ACD-FC1FD041903F}"/>
                  </a:ext>
                </a:extLst>
              </p:cNvPr>
              <p:cNvSpPr>
                <a:spLocks noEditPoints="1"/>
              </p:cNvSpPr>
              <p:nvPr/>
            </p:nvSpPr>
            <p:spPr bwMode="auto">
              <a:xfrm>
                <a:off x="2514600" y="5502275"/>
                <a:ext cx="1209675" cy="184150"/>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Rectangle 7">
                <a:extLst>
                  <a:ext uri="{FF2B5EF4-FFF2-40B4-BE49-F238E27FC236}">
                    <a16:creationId xmlns:a16="http://schemas.microsoft.com/office/drawing/2014/main" id="{EE3AE23F-A4C1-4BB8-A102-B4150A275AA8}"/>
                  </a:ext>
                </a:extLst>
              </p:cNvPr>
              <p:cNvSpPr>
                <a:spLocks noChangeArrowheads="1"/>
              </p:cNvSpPr>
              <p:nvPr/>
            </p:nvSpPr>
            <p:spPr bwMode="auto">
              <a:xfrm>
                <a:off x="3048000" y="5572125"/>
                <a:ext cx="146050"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8">
                <a:extLst>
                  <a:ext uri="{FF2B5EF4-FFF2-40B4-BE49-F238E27FC236}">
                    <a16:creationId xmlns:a16="http://schemas.microsoft.com/office/drawing/2014/main" id="{F0C1E919-318A-4D98-BDD6-BBE62A39A903}"/>
                  </a:ext>
                </a:extLst>
              </p:cNvPr>
              <p:cNvSpPr>
                <a:spLocks noEditPoints="1"/>
              </p:cNvSpPr>
              <p:nvPr/>
            </p:nvSpPr>
            <p:spPr bwMode="auto">
              <a:xfrm>
                <a:off x="2943225" y="5657850"/>
                <a:ext cx="352425" cy="193675"/>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9">
                <a:extLst>
                  <a:ext uri="{FF2B5EF4-FFF2-40B4-BE49-F238E27FC236}">
                    <a16:creationId xmlns:a16="http://schemas.microsoft.com/office/drawing/2014/main" id="{29729EAB-8F23-47C7-95A9-0BFD39B34410}"/>
                  </a:ext>
                </a:extLst>
              </p:cNvPr>
              <p:cNvSpPr>
                <a:spLocks noChangeArrowheads="1"/>
              </p:cNvSpPr>
              <p:nvPr/>
            </p:nvSpPr>
            <p:spPr bwMode="auto">
              <a:xfrm>
                <a:off x="2813050" y="5822950"/>
                <a:ext cx="612775"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10">
                <a:extLst>
                  <a:ext uri="{FF2B5EF4-FFF2-40B4-BE49-F238E27FC236}">
                    <a16:creationId xmlns:a16="http://schemas.microsoft.com/office/drawing/2014/main" id="{6E7040CE-4A1A-49DE-8318-BBEFD948A8CC}"/>
                  </a:ext>
                </a:extLst>
              </p:cNvPr>
              <p:cNvSpPr>
                <a:spLocks noEditPoints="1"/>
              </p:cNvSpPr>
              <p:nvPr/>
            </p:nvSpPr>
            <p:spPr bwMode="auto">
              <a:xfrm>
                <a:off x="2609850" y="4832350"/>
                <a:ext cx="263525" cy="114300"/>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1">
                <a:extLst>
                  <a:ext uri="{FF2B5EF4-FFF2-40B4-BE49-F238E27FC236}">
                    <a16:creationId xmlns:a16="http://schemas.microsoft.com/office/drawing/2014/main" id="{147323CE-CF29-4C18-A2AA-37289F6D79CE}"/>
                  </a:ext>
                </a:extLst>
              </p:cNvPr>
              <p:cNvSpPr>
                <a:spLocks noEditPoints="1"/>
              </p:cNvSpPr>
              <p:nvPr/>
            </p:nvSpPr>
            <p:spPr bwMode="auto">
              <a:xfrm>
                <a:off x="2936875" y="4832350"/>
                <a:ext cx="263525" cy="114300"/>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Rectangle 12">
                <a:extLst>
                  <a:ext uri="{FF2B5EF4-FFF2-40B4-BE49-F238E27FC236}">
                    <a16:creationId xmlns:a16="http://schemas.microsoft.com/office/drawing/2014/main" id="{EDD5170D-7890-4E4B-AF05-E26C5B122A26}"/>
                  </a:ext>
                </a:extLst>
              </p:cNvPr>
              <p:cNvSpPr>
                <a:spLocks noChangeArrowheads="1"/>
              </p:cNvSpPr>
              <p:nvPr/>
            </p:nvSpPr>
            <p:spPr bwMode="auto">
              <a:xfrm>
                <a:off x="3263900" y="4832350"/>
                <a:ext cx="381000"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Rectangle 13">
                <a:extLst>
                  <a:ext uri="{FF2B5EF4-FFF2-40B4-BE49-F238E27FC236}">
                    <a16:creationId xmlns:a16="http://schemas.microsoft.com/office/drawing/2014/main" id="{CEB3AD3D-362B-4554-B4AE-499952414848}"/>
                  </a:ext>
                </a:extLst>
              </p:cNvPr>
              <p:cNvSpPr>
                <a:spLocks noChangeArrowheads="1"/>
              </p:cNvSpPr>
              <p:nvPr/>
            </p:nvSpPr>
            <p:spPr bwMode="auto">
              <a:xfrm>
                <a:off x="2628900" y="5391150"/>
                <a:ext cx="28575" cy="50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Rectangle 14">
                <a:extLst>
                  <a:ext uri="{FF2B5EF4-FFF2-40B4-BE49-F238E27FC236}">
                    <a16:creationId xmlns:a16="http://schemas.microsoft.com/office/drawing/2014/main" id="{E1833CA0-31AF-416E-9428-144C472E1676}"/>
                  </a:ext>
                </a:extLst>
              </p:cNvPr>
              <p:cNvSpPr>
                <a:spLocks noChangeArrowheads="1"/>
              </p:cNvSpPr>
              <p:nvPr/>
            </p:nvSpPr>
            <p:spPr bwMode="auto">
              <a:xfrm>
                <a:off x="2705100" y="5362575"/>
                <a:ext cx="28575" cy="793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Rectangle 15">
                <a:extLst>
                  <a:ext uri="{FF2B5EF4-FFF2-40B4-BE49-F238E27FC236}">
                    <a16:creationId xmlns:a16="http://schemas.microsoft.com/office/drawing/2014/main" id="{4940A636-ED47-4096-A2E7-81C7AB43D3DD}"/>
                  </a:ext>
                </a:extLst>
              </p:cNvPr>
              <p:cNvSpPr>
                <a:spLocks noChangeArrowheads="1"/>
              </p:cNvSpPr>
              <p:nvPr/>
            </p:nvSpPr>
            <p:spPr bwMode="auto">
              <a:xfrm>
                <a:off x="2778125" y="5286375"/>
                <a:ext cx="28575" cy="155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Rectangle 16">
                <a:extLst>
                  <a:ext uri="{FF2B5EF4-FFF2-40B4-BE49-F238E27FC236}">
                    <a16:creationId xmlns:a16="http://schemas.microsoft.com/office/drawing/2014/main" id="{B3990A67-52A5-4191-BA64-C76D4F6F3D05}"/>
                  </a:ext>
                </a:extLst>
              </p:cNvPr>
              <p:cNvSpPr>
                <a:spLocks noChangeArrowheads="1"/>
              </p:cNvSpPr>
              <p:nvPr/>
            </p:nvSpPr>
            <p:spPr bwMode="auto">
              <a:xfrm>
                <a:off x="2851150" y="5311775"/>
                <a:ext cx="28575" cy="1301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Rectangle 17">
                <a:extLst>
                  <a:ext uri="{FF2B5EF4-FFF2-40B4-BE49-F238E27FC236}">
                    <a16:creationId xmlns:a16="http://schemas.microsoft.com/office/drawing/2014/main" id="{341F5EB5-2C7E-4D27-925C-33C760329C48}"/>
                  </a:ext>
                </a:extLst>
              </p:cNvPr>
              <p:cNvSpPr>
                <a:spLocks noChangeArrowheads="1"/>
              </p:cNvSpPr>
              <p:nvPr/>
            </p:nvSpPr>
            <p:spPr bwMode="auto">
              <a:xfrm>
                <a:off x="2924175" y="5384800"/>
                <a:ext cx="28575" cy="571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Rectangle 18">
                <a:extLst>
                  <a:ext uri="{FF2B5EF4-FFF2-40B4-BE49-F238E27FC236}">
                    <a16:creationId xmlns:a16="http://schemas.microsoft.com/office/drawing/2014/main" id="{EA545BA9-3C53-4CC0-89CB-AE71ABB583EC}"/>
                  </a:ext>
                </a:extLst>
              </p:cNvPr>
              <p:cNvSpPr>
                <a:spLocks noChangeArrowheads="1"/>
              </p:cNvSpPr>
              <p:nvPr/>
            </p:nvSpPr>
            <p:spPr bwMode="auto">
              <a:xfrm>
                <a:off x="2997200" y="5311775"/>
                <a:ext cx="28575" cy="1301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Rectangle 19">
                <a:extLst>
                  <a:ext uri="{FF2B5EF4-FFF2-40B4-BE49-F238E27FC236}">
                    <a16:creationId xmlns:a16="http://schemas.microsoft.com/office/drawing/2014/main" id="{F5FA565A-A55F-4F0F-9F79-E3EE09B2338D}"/>
                  </a:ext>
                </a:extLst>
              </p:cNvPr>
              <p:cNvSpPr>
                <a:spLocks noChangeArrowheads="1"/>
              </p:cNvSpPr>
              <p:nvPr/>
            </p:nvSpPr>
            <p:spPr bwMode="auto">
              <a:xfrm>
                <a:off x="3070225" y="5219700"/>
                <a:ext cx="28575" cy="222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Rectangle 20">
                <a:extLst>
                  <a:ext uri="{FF2B5EF4-FFF2-40B4-BE49-F238E27FC236}">
                    <a16:creationId xmlns:a16="http://schemas.microsoft.com/office/drawing/2014/main" id="{A32A7228-1F7A-4532-B6F3-DFF796F4BF8C}"/>
                  </a:ext>
                </a:extLst>
              </p:cNvPr>
              <p:cNvSpPr>
                <a:spLocks noChangeArrowheads="1"/>
              </p:cNvSpPr>
              <p:nvPr/>
            </p:nvSpPr>
            <p:spPr bwMode="auto">
              <a:xfrm>
                <a:off x="3143250" y="5280025"/>
                <a:ext cx="28575" cy="1619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21">
                <a:extLst>
                  <a:ext uri="{FF2B5EF4-FFF2-40B4-BE49-F238E27FC236}">
                    <a16:creationId xmlns:a16="http://schemas.microsoft.com/office/drawing/2014/main" id="{F0AA4B5D-ACE4-45E1-BFB4-C141A8F22C58}"/>
                  </a:ext>
                </a:extLst>
              </p:cNvPr>
              <p:cNvSpPr>
                <a:spLocks noChangeArrowheads="1"/>
              </p:cNvSpPr>
              <p:nvPr/>
            </p:nvSpPr>
            <p:spPr bwMode="auto">
              <a:xfrm>
                <a:off x="3216275" y="5384800"/>
                <a:ext cx="28575" cy="571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Rectangle 22">
                <a:extLst>
                  <a:ext uri="{FF2B5EF4-FFF2-40B4-BE49-F238E27FC236}">
                    <a16:creationId xmlns:a16="http://schemas.microsoft.com/office/drawing/2014/main" id="{CBE596C8-2552-4017-9212-2F5F5DB390C4}"/>
                  </a:ext>
                </a:extLst>
              </p:cNvPr>
              <p:cNvSpPr>
                <a:spLocks noChangeArrowheads="1"/>
              </p:cNvSpPr>
              <p:nvPr/>
            </p:nvSpPr>
            <p:spPr bwMode="auto">
              <a:xfrm>
                <a:off x="3289300" y="5229225"/>
                <a:ext cx="28575" cy="2127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Rectangle 23">
                <a:extLst>
                  <a:ext uri="{FF2B5EF4-FFF2-40B4-BE49-F238E27FC236}">
                    <a16:creationId xmlns:a16="http://schemas.microsoft.com/office/drawing/2014/main" id="{9E9394B4-64DA-4C8C-9BC2-5B4C40CC84A7}"/>
                  </a:ext>
                </a:extLst>
              </p:cNvPr>
              <p:cNvSpPr>
                <a:spLocks noChangeArrowheads="1"/>
              </p:cNvSpPr>
              <p:nvPr/>
            </p:nvSpPr>
            <p:spPr bwMode="auto">
              <a:xfrm>
                <a:off x="3362325" y="5295900"/>
                <a:ext cx="28575" cy="1460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Rectangle 24">
                <a:extLst>
                  <a:ext uri="{FF2B5EF4-FFF2-40B4-BE49-F238E27FC236}">
                    <a16:creationId xmlns:a16="http://schemas.microsoft.com/office/drawing/2014/main" id="{69487790-D8C4-452F-A0E0-D4FA79D518CF}"/>
                  </a:ext>
                </a:extLst>
              </p:cNvPr>
              <p:cNvSpPr>
                <a:spLocks noChangeArrowheads="1"/>
              </p:cNvSpPr>
              <p:nvPr/>
            </p:nvSpPr>
            <p:spPr bwMode="auto">
              <a:xfrm>
                <a:off x="3435350" y="5127625"/>
                <a:ext cx="28575" cy="3143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Rectangle 25">
                <a:extLst>
                  <a:ext uri="{FF2B5EF4-FFF2-40B4-BE49-F238E27FC236}">
                    <a16:creationId xmlns:a16="http://schemas.microsoft.com/office/drawing/2014/main" id="{E31B45CD-3623-48AF-A5FB-E33E4FC46E52}"/>
                  </a:ext>
                </a:extLst>
              </p:cNvPr>
              <p:cNvSpPr>
                <a:spLocks noChangeArrowheads="1"/>
              </p:cNvSpPr>
              <p:nvPr/>
            </p:nvSpPr>
            <p:spPr bwMode="auto">
              <a:xfrm>
                <a:off x="3508375" y="5229225"/>
                <a:ext cx="28575" cy="2127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Rectangle 26">
                <a:extLst>
                  <a:ext uri="{FF2B5EF4-FFF2-40B4-BE49-F238E27FC236}">
                    <a16:creationId xmlns:a16="http://schemas.microsoft.com/office/drawing/2014/main" id="{ADE500DC-BF1A-4C81-8021-1DC1AAD7BE20}"/>
                  </a:ext>
                </a:extLst>
              </p:cNvPr>
              <p:cNvSpPr>
                <a:spLocks noChangeArrowheads="1"/>
              </p:cNvSpPr>
              <p:nvPr/>
            </p:nvSpPr>
            <p:spPr bwMode="auto">
              <a:xfrm>
                <a:off x="3581400" y="5311775"/>
                <a:ext cx="28575" cy="1301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27">
                <a:extLst>
                  <a:ext uri="{FF2B5EF4-FFF2-40B4-BE49-F238E27FC236}">
                    <a16:creationId xmlns:a16="http://schemas.microsoft.com/office/drawing/2014/main" id="{0DC1B055-820B-4581-9080-2ABF7A2EB6BC}"/>
                  </a:ext>
                </a:extLst>
              </p:cNvPr>
              <p:cNvSpPr>
                <a:spLocks/>
              </p:cNvSpPr>
              <p:nvPr/>
            </p:nvSpPr>
            <p:spPr bwMode="auto">
              <a:xfrm>
                <a:off x="2609850" y="5045075"/>
                <a:ext cx="1000125" cy="304800"/>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53" name="Graphic 152">
              <a:extLst>
                <a:ext uri="{FF2B5EF4-FFF2-40B4-BE49-F238E27FC236}">
                  <a16:creationId xmlns:a16="http://schemas.microsoft.com/office/drawing/2014/main" id="{8C215DDF-45BE-41F4-A290-3B7CC5543E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9457" y="3755163"/>
              <a:ext cx="776641" cy="788589"/>
            </a:xfrm>
            <a:prstGeom prst="rect">
              <a:avLst/>
            </a:prstGeom>
          </p:spPr>
        </p:pic>
        <p:sp>
          <p:nvSpPr>
            <p:cNvPr id="154" name="Rectangle 153">
              <a:extLst>
                <a:ext uri="{FF2B5EF4-FFF2-40B4-BE49-F238E27FC236}">
                  <a16:creationId xmlns:a16="http://schemas.microsoft.com/office/drawing/2014/main" id="{AE392AC4-4368-421D-A061-62B242DD05B9}"/>
                </a:ext>
              </a:extLst>
            </p:cNvPr>
            <p:cNvSpPr/>
            <p:nvPr/>
          </p:nvSpPr>
          <p:spPr>
            <a:xfrm>
              <a:off x="5227613" y="2294467"/>
              <a:ext cx="1878542" cy="2196253"/>
            </a:xfrm>
            <a:prstGeom prst="rect">
              <a:avLst/>
            </a:prstGeom>
            <a:noFill/>
            <a:ln w="9525">
              <a:solidFill>
                <a:srgbClr val="A97F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55" name="TextBox 154">
              <a:extLst>
                <a:ext uri="{FF2B5EF4-FFF2-40B4-BE49-F238E27FC236}">
                  <a16:creationId xmlns:a16="http://schemas.microsoft.com/office/drawing/2014/main" id="{CBFE2C41-F6B4-41CA-9F20-BAC734984272}"/>
                </a:ext>
              </a:extLst>
            </p:cNvPr>
            <p:cNvSpPr txBox="1"/>
            <p:nvPr/>
          </p:nvSpPr>
          <p:spPr>
            <a:xfrm>
              <a:off x="5494808" y="2701250"/>
              <a:ext cx="1299210" cy="341618"/>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200" dirty="0">
                  <a:solidFill>
                    <a:schemeClr val="bg1"/>
                  </a:solidFill>
                  <a:latin typeface="EYInterstate" panose="02000503020000020004" pitchFamily="2" charset="0"/>
                </a:rPr>
                <a:t>Cryptographic hash functions</a:t>
              </a:r>
            </a:p>
          </p:txBody>
        </p:sp>
        <p:sp>
          <p:nvSpPr>
            <p:cNvPr id="156" name="TextBox 155">
              <a:extLst>
                <a:ext uri="{FF2B5EF4-FFF2-40B4-BE49-F238E27FC236}">
                  <a16:creationId xmlns:a16="http://schemas.microsoft.com/office/drawing/2014/main" id="{722F31C8-E35F-4B96-B245-5C292664824F}"/>
                </a:ext>
              </a:extLst>
            </p:cNvPr>
            <p:cNvSpPr txBox="1"/>
            <p:nvPr/>
          </p:nvSpPr>
          <p:spPr>
            <a:xfrm>
              <a:off x="5314175" y="3271987"/>
              <a:ext cx="1593013" cy="153888"/>
            </a:xfrm>
            <a:prstGeom prst="rect">
              <a:avLst/>
            </a:prstGeom>
            <a:noFill/>
          </p:spPr>
          <p:txBody>
            <a:bodyPr wrap="square" lIns="0" tIns="0" rIns="0" bIns="0" rtlCol="0" anchor="t">
              <a:spAutoFit/>
            </a:bodyPr>
            <a:lstStyle/>
            <a:p>
              <a:pPr marL="90439"/>
              <a:endParaRPr lang="en-US" sz="1000" kern="0" dirty="0">
                <a:solidFill>
                  <a:schemeClr val="bg1"/>
                </a:solidFill>
                <a:cs typeface="Arial"/>
              </a:endParaRPr>
            </a:p>
          </p:txBody>
        </p:sp>
        <p:sp>
          <p:nvSpPr>
            <p:cNvPr id="157" name="Oval 156">
              <a:extLst>
                <a:ext uri="{FF2B5EF4-FFF2-40B4-BE49-F238E27FC236}">
                  <a16:creationId xmlns:a16="http://schemas.microsoft.com/office/drawing/2014/main" id="{DE32B6BF-7D6F-4436-A4C4-AB766296BA51}"/>
                </a:ext>
              </a:extLst>
            </p:cNvPr>
            <p:cNvSpPr/>
            <p:nvPr/>
          </p:nvSpPr>
          <p:spPr>
            <a:xfrm>
              <a:off x="5778564" y="1906146"/>
              <a:ext cx="776641" cy="776641"/>
            </a:xfrm>
            <a:prstGeom prst="ellipse">
              <a:avLst/>
            </a:prstGeom>
            <a:solidFill>
              <a:srgbClr val="A97FF0"/>
            </a:solidFill>
            <a:ln w="9525">
              <a:solidFill>
                <a:srgbClr val="A97F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163" name="Graphic 162">
              <a:extLst>
                <a:ext uri="{FF2B5EF4-FFF2-40B4-BE49-F238E27FC236}">
                  <a16:creationId xmlns:a16="http://schemas.microsoft.com/office/drawing/2014/main" id="{39DD8BCE-3553-46E5-A585-EEB1759DAB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21834" y="3755163"/>
              <a:ext cx="776641" cy="788589"/>
            </a:xfrm>
            <a:prstGeom prst="rect">
              <a:avLst/>
            </a:prstGeom>
          </p:spPr>
        </p:pic>
        <p:sp>
          <p:nvSpPr>
            <p:cNvPr id="164" name="Rectangle 163">
              <a:extLst>
                <a:ext uri="{FF2B5EF4-FFF2-40B4-BE49-F238E27FC236}">
                  <a16:creationId xmlns:a16="http://schemas.microsoft.com/office/drawing/2014/main" id="{7465E778-1B7D-4F93-89EB-8B9A75521489}"/>
                </a:ext>
              </a:extLst>
            </p:cNvPr>
            <p:cNvSpPr/>
            <p:nvPr/>
          </p:nvSpPr>
          <p:spPr>
            <a:xfrm>
              <a:off x="7489990" y="2294467"/>
              <a:ext cx="1878542" cy="2196253"/>
            </a:xfrm>
            <a:prstGeom prst="rect">
              <a:avLst/>
            </a:prstGeom>
            <a:noFill/>
            <a:ln w="9525">
              <a:solidFill>
                <a:srgbClr val="B148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65" name="TextBox 164">
              <a:extLst>
                <a:ext uri="{FF2B5EF4-FFF2-40B4-BE49-F238E27FC236}">
                  <a16:creationId xmlns:a16="http://schemas.microsoft.com/office/drawing/2014/main" id="{72C4EBBB-13BC-4FA5-AEB9-FACCF093A7C4}"/>
                </a:ext>
              </a:extLst>
            </p:cNvPr>
            <p:cNvSpPr txBox="1"/>
            <p:nvPr/>
          </p:nvSpPr>
          <p:spPr>
            <a:xfrm>
              <a:off x="7757185" y="2701250"/>
              <a:ext cx="1299210" cy="341618"/>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200" dirty="0">
                  <a:solidFill>
                    <a:schemeClr val="bg1"/>
                  </a:solidFill>
                  <a:latin typeface="EYInterstate" panose="02000503020000020004" pitchFamily="2" charset="0"/>
                </a:rPr>
                <a:t>Consensus mechanism</a:t>
              </a:r>
            </a:p>
          </p:txBody>
        </p:sp>
        <p:sp>
          <p:nvSpPr>
            <p:cNvPr id="166" name="TextBox 165">
              <a:extLst>
                <a:ext uri="{FF2B5EF4-FFF2-40B4-BE49-F238E27FC236}">
                  <a16:creationId xmlns:a16="http://schemas.microsoft.com/office/drawing/2014/main" id="{E4665F17-D9C7-40F5-8B60-D034BE0A4410}"/>
                </a:ext>
              </a:extLst>
            </p:cNvPr>
            <p:cNvSpPr txBox="1"/>
            <p:nvPr/>
          </p:nvSpPr>
          <p:spPr>
            <a:xfrm>
              <a:off x="7576552" y="3271987"/>
              <a:ext cx="1593013" cy="1077218"/>
            </a:xfrm>
            <a:prstGeom prst="rect">
              <a:avLst/>
            </a:prstGeom>
            <a:noFill/>
          </p:spPr>
          <p:txBody>
            <a:bodyPr wrap="square" lIns="0" tIns="0" rIns="0" bIns="0" rtlCol="0" anchor="t">
              <a:spAutoFit/>
            </a:bodyPr>
            <a:lstStyle/>
            <a:p>
              <a:pPr marL="90439"/>
              <a:r>
                <a:rPr lang="en-US" sz="1000" kern="0" dirty="0">
                  <a:solidFill>
                    <a:schemeClr val="bg1"/>
                  </a:solidFill>
                  <a:cs typeface="Arial"/>
                </a:rPr>
                <a:t>Mathematical process by which blocks of transactions are validated and appended to the chain ensuring all nodes agree and reflect the same copy of the ledger</a:t>
              </a:r>
            </a:p>
          </p:txBody>
        </p:sp>
        <p:sp>
          <p:nvSpPr>
            <p:cNvPr id="167" name="Oval 166">
              <a:extLst>
                <a:ext uri="{FF2B5EF4-FFF2-40B4-BE49-F238E27FC236}">
                  <a16:creationId xmlns:a16="http://schemas.microsoft.com/office/drawing/2014/main" id="{22978B37-C76A-4A08-81E8-4CE278514718}"/>
                </a:ext>
              </a:extLst>
            </p:cNvPr>
            <p:cNvSpPr/>
            <p:nvPr/>
          </p:nvSpPr>
          <p:spPr>
            <a:xfrm>
              <a:off x="8040941" y="1906146"/>
              <a:ext cx="776641" cy="776641"/>
            </a:xfrm>
            <a:prstGeom prst="ellipse">
              <a:avLst/>
            </a:prstGeom>
            <a:solidFill>
              <a:srgbClr val="B14891"/>
            </a:solidFill>
            <a:ln w="9525">
              <a:solidFill>
                <a:srgbClr val="B148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91" name="Group 90">
              <a:extLst>
                <a:ext uri="{FF2B5EF4-FFF2-40B4-BE49-F238E27FC236}">
                  <a16:creationId xmlns:a16="http://schemas.microsoft.com/office/drawing/2014/main" id="{0C8BA074-8D43-4E7E-B0B6-C98726DF130D}"/>
                </a:ext>
              </a:extLst>
            </p:cNvPr>
            <p:cNvGrpSpPr/>
            <p:nvPr/>
          </p:nvGrpSpPr>
          <p:grpSpPr>
            <a:xfrm>
              <a:off x="6017761" y="2092813"/>
              <a:ext cx="287761" cy="384042"/>
              <a:chOff x="4651375" y="4546600"/>
              <a:chExt cx="844550" cy="1127125"/>
            </a:xfrm>
          </p:grpSpPr>
          <p:sp>
            <p:nvSpPr>
              <p:cNvPr id="92" name="Freeform 31">
                <a:extLst>
                  <a:ext uri="{FF2B5EF4-FFF2-40B4-BE49-F238E27FC236}">
                    <a16:creationId xmlns:a16="http://schemas.microsoft.com/office/drawing/2014/main" id="{EC40510C-121A-48B6-A909-1CEB84B0D428}"/>
                  </a:ext>
                </a:extLst>
              </p:cNvPr>
              <p:cNvSpPr>
                <a:spLocks noEditPoints="1"/>
              </p:cNvSpPr>
              <p:nvPr/>
            </p:nvSpPr>
            <p:spPr bwMode="auto">
              <a:xfrm>
                <a:off x="4651375" y="4953000"/>
                <a:ext cx="844550" cy="720725"/>
              </a:xfrm>
              <a:custGeom>
                <a:avLst/>
                <a:gdLst>
                  <a:gd name="T0" fmla="*/ 532 w 532"/>
                  <a:gd name="T1" fmla="*/ 454 h 454"/>
                  <a:gd name="T2" fmla="*/ 0 w 532"/>
                  <a:gd name="T3" fmla="*/ 454 h 454"/>
                  <a:gd name="T4" fmla="*/ 0 w 532"/>
                  <a:gd name="T5" fmla="*/ 0 h 454"/>
                  <a:gd name="T6" fmla="*/ 532 w 532"/>
                  <a:gd name="T7" fmla="*/ 0 h 454"/>
                  <a:gd name="T8" fmla="*/ 532 w 532"/>
                  <a:gd name="T9" fmla="*/ 454 h 454"/>
                  <a:gd name="T10" fmla="*/ 18 w 532"/>
                  <a:gd name="T11" fmla="*/ 436 h 454"/>
                  <a:gd name="T12" fmla="*/ 514 w 532"/>
                  <a:gd name="T13" fmla="*/ 436 h 454"/>
                  <a:gd name="T14" fmla="*/ 514 w 532"/>
                  <a:gd name="T15" fmla="*/ 18 h 454"/>
                  <a:gd name="T16" fmla="*/ 18 w 532"/>
                  <a:gd name="T17" fmla="*/ 18 h 454"/>
                  <a:gd name="T18" fmla="*/ 18 w 532"/>
                  <a:gd name="T19"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2" h="454">
                    <a:moveTo>
                      <a:pt x="532" y="454"/>
                    </a:moveTo>
                    <a:lnTo>
                      <a:pt x="0" y="454"/>
                    </a:lnTo>
                    <a:lnTo>
                      <a:pt x="0" y="0"/>
                    </a:lnTo>
                    <a:lnTo>
                      <a:pt x="532" y="0"/>
                    </a:lnTo>
                    <a:lnTo>
                      <a:pt x="532" y="454"/>
                    </a:lnTo>
                    <a:close/>
                    <a:moveTo>
                      <a:pt x="18" y="436"/>
                    </a:moveTo>
                    <a:lnTo>
                      <a:pt x="514" y="436"/>
                    </a:lnTo>
                    <a:lnTo>
                      <a:pt x="514" y="18"/>
                    </a:lnTo>
                    <a:lnTo>
                      <a:pt x="18" y="18"/>
                    </a:lnTo>
                    <a:lnTo>
                      <a:pt x="18" y="4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32">
                <a:extLst>
                  <a:ext uri="{FF2B5EF4-FFF2-40B4-BE49-F238E27FC236}">
                    <a16:creationId xmlns:a16="http://schemas.microsoft.com/office/drawing/2014/main" id="{D8C29AE0-058D-4395-8660-1449D9FD6096}"/>
                  </a:ext>
                </a:extLst>
              </p:cNvPr>
              <p:cNvSpPr>
                <a:spLocks noEditPoints="1"/>
              </p:cNvSpPr>
              <p:nvPr/>
            </p:nvSpPr>
            <p:spPr bwMode="auto">
              <a:xfrm>
                <a:off x="4759325" y="4546600"/>
                <a:ext cx="615950" cy="434975"/>
              </a:xfrm>
              <a:custGeom>
                <a:avLst/>
                <a:gdLst>
                  <a:gd name="T0" fmla="*/ 0 w 388"/>
                  <a:gd name="T1" fmla="*/ 274 h 274"/>
                  <a:gd name="T2" fmla="*/ 0 w 388"/>
                  <a:gd name="T3" fmla="*/ 194 h 274"/>
                  <a:gd name="T4" fmla="*/ 4 w 388"/>
                  <a:gd name="T5" fmla="*/ 154 h 274"/>
                  <a:gd name="T6" fmla="*/ 16 w 388"/>
                  <a:gd name="T7" fmla="*/ 118 h 274"/>
                  <a:gd name="T8" fmla="*/ 34 w 388"/>
                  <a:gd name="T9" fmla="*/ 84 h 274"/>
                  <a:gd name="T10" fmla="*/ 58 w 388"/>
                  <a:gd name="T11" fmla="*/ 56 h 274"/>
                  <a:gd name="T12" fmla="*/ 86 w 388"/>
                  <a:gd name="T13" fmla="*/ 32 h 274"/>
                  <a:gd name="T14" fmla="*/ 120 w 388"/>
                  <a:gd name="T15" fmla="*/ 14 h 274"/>
                  <a:gd name="T16" fmla="*/ 156 w 388"/>
                  <a:gd name="T17" fmla="*/ 4 h 274"/>
                  <a:gd name="T18" fmla="*/ 194 w 388"/>
                  <a:gd name="T19" fmla="*/ 0 h 274"/>
                  <a:gd name="T20" fmla="*/ 214 w 388"/>
                  <a:gd name="T21" fmla="*/ 0 h 274"/>
                  <a:gd name="T22" fmla="*/ 252 w 388"/>
                  <a:gd name="T23" fmla="*/ 8 h 274"/>
                  <a:gd name="T24" fmla="*/ 286 w 388"/>
                  <a:gd name="T25" fmla="*/ 22 h 274"/>
                  <a:gd name="T26" fmla="*/ 318 w 388"/>
                  <a:gd name="T27" fmla="*/ 44 h 274"/>
                  <a:gd name="T28" fmla="*/ 344 w 388"/>
                  <a:gd name="T29" fmla="*/ 70 h 274"/>
                  <a:gd name="T30" fmla="*/ 364 w 388"/>
                  <a:gd name="T31" fmla="*/ 100 h 274"/>
                  <a:gd name="T32" fmla="*/ 380 w 388"/>
                  <a:gd name="T33" fmla="*/ 136 h 274"/>
                  <a:gd name="T34" fmla="*/ 388 w 388"/>
                  <a:gd name="T35" fmla="*/ 174 h 274"/>
                  <a:gd name="T36" fmla="*/ 388 w 388"/>
                  <a:gd name="T37" fmla="*/ 274 h 274"/>
                  <a:gd name="T38" fmla="*/ 370 w 388"/>
                  <a:gd name="T39" fmla="*/ 256 h 274"/>
                  <a:gd name="T40" fmla="*/ 370 w 388"/>
                  <a:gd name="T41" fmla="*/ 194 h 274"/>
                  <a:gd name="T42" fmla="*/ 366 w 388"/>
                  <a:gd name="T43" fmla="*/ 158 h 274"/>
                  <a:gd name="T44" fmla="*/ 356 w 388"/>
                  <a:gd name="T45" fmla="*/ 124 h 274"/>
                  <a:gd name="T46" fmla="*/ 340 w 388"/>
                  <a:gd name="T47" fmla="*/ 96 h 274"/>
                  <a:gd name="T48" fmla="*/ 318 w 388"/>
                  <a:gd name="T49" fmla="*/ 70 h 274"/>
                  <a:gd name="T50" fmla="*/ 292 w 388"/>
                  <a:gd name="T51" fmla="*/ 48 h 274"/>
                  <a:gd name="T52" fmla="*/ 262 w 388"/>
                  <a:gd name="T53" fmla="*/ 32 h 274"/>
                  <a:gd name="T54" fmla="*/ 230 w 388"/>
                  <a:gd name="T55" fmla="*/ 22 h 274"/>
                  <a:gd name="T56" fmla="*/ 194 w 388"/>
                  <a:gd name="T57" fmla="*/ 18 h 274"/>
                  <a:gd name="T58" fmla="*/ 176 w 388"/>
                  <a:gd name="T59" fmla="*/ 18 h 274"/>
                  <a:gd name="T60" fmla="*/ 142 w 388"/>
                  <a:gd name="T61" fmla="*/ 26 h 274"/>
                  <a:gd name="T62" fmla="*/ 110 w 388"/>
                  <a:gd name="T63" fmla="*/ 38 h 274"/>
                  <a:gd name="T64" fmla="*/ 82 w 388"/>
                  <a:gd name="T65" fmla="*/ 58 h 274"/>
                  <a:gd name="T66" fmla="*/ 58 w 388"/>
                  <a:gd name="T67" fmla="*/ 82 h 274"/>
                  <a:gd name="T68" fmla="*/ 40 w 388"/>
                  <a:gd name="T69" fmla="*/ 110 h 274"/>
                  <a:gd name="T70" fmla="*/ 26 w 388"/>
                  <a:gd name="T71" fmla="*/ 142 h 274"/>
                  <a:gd name="T72" fmla="*/ 20 w 388"/>
                  <a:gd name="T73" fmla="*/ 176 h 274"/>
                  <a:gd name="T74" fmla="*/ 18 w 388"/>
                  <a:gd name="T75" fmla="*/ 25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8" h="274">
                    <a:moveTo>
                      <a:pt x="388" y="274"/>
                    </a:moveTo>
                    <a:lnTo>
                      <a:pt x="0" y="274"/>
                    </a:lnTo>
                    <a:lnTo>
                      <a:pt x="0" y="194"/>
                    </a:lnTo>
                    <a:lnTo>
                      <a:pt x="0" y="194"/>
                    </a:lnTo>
                    <a:lnTo>
                      <a:pt x="2" y="174"/>
                    </a:lnTo>
                    <a:lnTo>
                      <a:pt x="4" y="154"/>
                    </a:lnTo>
                    <a:lnTo>
                      <a:pt x="10" y="136"/>
                    </a:lnTo>
                    <a:lnTo>
                      <a:pt x="16" y="118"/>
                    </a:lnTo>
                    <a:lnTo>
                      <a:pt x="24" y="100"/>
                    </a:lnTo>
                    <a:lnTo>
                      <a:pt x="34" y="84"/>
                    </a:lnTo>
                    <a:lnTo>
                      <a:pt x="46" y="70"/>
                    </a:lnTo>
                    <a:lnTo>
                      <a:pt x="58" y="56"/>
                    </a:lnTo>
                    <a:lnTo>
                      <a:pt x="72" y="44"/>
                    </a:lnTo>
                    <a:lnTo>
                      <a:pt x="86" y="32"/>
                    </a:lnTo>
                    <a:lnTo>
                      <a:pt x="102" y="22"/>
                    </a:lnTo>
                    <a:lnTo>
                      <a:pt x="120" y="14"/>
                    </a:lnTo>
                    <a:lnTo>
                      <a:pt x="136" y="8"/>
                    </a:lnTo>
                    <a:lnTo>
                      <a:pt x="156" y="4"/>
                    </a:lnTo>
                    <a:lnTo>
                      <a:pt x="174" y="0"/>
                    </a:lnTo>
                    <a:lnTo>
                      <a:pt x="194" y="0"/>
                    </a:lnTo>
                    <a:lnTo>
                      <a:pt x="194" y="0"/>
                    </a:lnTo>
                    <a:lnTo>
                      <a:pt x="214" y="0"/>
                    </a:lnTo>
                    <a:lnTo>
                      <a:pt x="234" y="4"/>
                    </a:lnTo>
                    <a:lnTo>
                      <a:pt x="252" y="8"/>
                    </a:lnTo>
                    <a:lnTo>
                      <a:pt x="270" y="14"/>
                    </a:lnTo>
                    <a:lnTo>
                      <a:pt x="286" y="22"/>
                    </a:lnTo>
                    <a:lnTo>
                      <a:pt x="302" y="32"/>
                    </a:lnTo>
                    <a:lnTo>
                      <a:pt x="318" y="44"/>
                    </a:lnTo>
                    <a:lnTo>
                      <a:pt x="332" y="56"/>
                    </a:lnTo>
                    <a:lnTo>
                      <a:pt x="344" y="70"/>
                    </a:lnTo>
                    <a:lnTo>
                      <a:pt x="356" y="84"/>
                    </a:lnTo>
                    <a:lnTo>
                      <a:pt x="364" y="100"/>
                    </a:lnTo>
                    <a:lnTo>
                      <a:pt x="374" y="118"/>
                    </a:lnTo>
                    <a:lnTo>
                      <a:pt x="380" y="136"/>
                    </a:lnTo>
                    <a:lnTo>
                      <a:pt x="384" y="154"/>
                    </a:lnTo>
                    <a:lnTo>
                      <a:pt x="388" y="174"/>
                    </a:lnTo>
                    <a:lnTo>
                      <a:pt x="388" y="194"/>
                    </a:lnTo>
                    <a:lnTo>
                      <a:pt x="388" y="274"/>
                    </a:lnTo>
                    <a:close/>
                    <a:moveTo>
                      <a:pt x="18" y="256"/>
                    </a:moveTo>
                    <a:lnTo>
                      <a:pt x="370" y="256"/>
                    </a:lnTo>
                    <a:lnTo>
                      <a:pt x="370" y="194"/>
                    </a:lnTo>
                    <a:lnTo>
                      <a:pt x="370" y="194"/>
                    </a:lnTo>
                    <a:lnTo>
                      <a:pt x="370" y="176"/>
                    </a:lnTo>
                    <a:lnTo>
                      <a:pt x="366" y="158"/>
                    </a:lnTo>
                    <a:lnTo>
                      <a:pt x="362" y="142"/>
                    </a:lnTo>
                    <a:lnTo>
                      <a:pt x="356" y="124"/>
                    </a:lnTo>
                    <a:lnTo>
                      <a:pt x="350" y="110"/>
                    </a:lnTo>
                    <a:lnTo>
                      <a:pt x="340" y="96"/>
                    </a:lnTo>
                    <a:lnTo>
                      <a:pt x="330" y="82"/>
                    </a:lnTo>
                    <a:lnTo>
                      <a:pt x="318" y="70"/>
                    </a:lnTo>
                    <a:lnTo>
                      <a:pt x="306" y="58"/>
                    </a:lnTo>
                    <a:lnTo>
                      <a:pt x="292" y="48"/>
                    </a:lnTo>
                    <a:lnTo>
                      <a:pt x="278" y="38"/>
                    </a:lnTo>
                    <a:lnTo>
                      <a:pt x="262" y="32"/>
                    </a:lnTo>
                    <a:lnTo>
                      <a:pt x="246" y="26"/>
                    </a:lnTo>
                    <a:lnTo>
                      <a:pt x="230" y="22"/>
                    </a:lnTo>
                    <a:lnTo>
                      <a:pt x="212" y="18"/>
                    </a:lnTo>
                    <a:lnTo>
                      <a:pt x="194" y="18"/>
                    </a:lnTo>
                    <a:lnTo>
                      <a:pt x="194" y="18"/>
                    </a:lnTo>
                    <a:lnTo>
                      <a:pt x="176" y="18"/>
                    </a:lnTo>
                    <a:lnTo>
                      <a:pt x="160" y="22"/>
                    </a:lnTo>
                    <a:lnTo>
                      <a:pt x="142" y="26"/>
                    </a:lnTo>
                    <a:lnTo>
                      <a:pt x="126" y="32"/>
                    </a:lnTo>
                    <a:lnTo>
                      <a:pt x="110" y="38"/>
                    </a:lnTo>
                    <a:lnTo>
                      <a:pt x="96" y="48"/>
                    </a:lnTo>
                    <a:lnTo>
                      <a:pt x="82" y="58"/>
                    </a:lnTo>
                    <a:lnTo>
                      <a:pt x="70" y="70"/>
                    </a:lnTo>
                    <a:lnTo>
                      <a:pt x="58" y="82"/>
                    </a:lnTo>
                    <a:lnTo>
                      <a:pt x="48" y="96"/>
                    </a:lnTo>
                    <a:lnTo>
                      <a:pt x="40" y="110"/>
                    </a:lnTo>
                    <a:lnTo>
                      <a:pt x="32" y="124"/>
                    </a:lnTo>
                    <a:lnTo>
                      <a:pt x="26" y="142"/>
                    </a:lnTo>
                    <a:lnTo>
                      <a:pt x="22" y="158"/>
                    </a:lnTo>
                    <a:lnTo>
                      <a:pt x="20" y="176"/>
                    </a:lnTo>
                    <a:lnTo>
                      <a:pt x="18" y="194"/>
                    </a:lnTo>
                    <a:lnTo>
                      <a:pt x="18" y="2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33">
                <a:extLst>
                  <a:ext uri="{FF2B5EF4-FFF2-40B4-BE49-F238E27FC236}">
                    <a16:creationId xmlns:a16="http://schemas.microsoft.com/office/drawing/2014/main" id="{93BFD1D9-0240-43DA-AABE-196D375D357B}"/>
                  </a:ext>
                </a:extLst>
              </p:cNvPr>
              <p:cNvSpPr>
                <a:spLocks/>
              </p:cNvSpPr>
              <p:nvPr/>
            </p:nvSpPr>
            <p:spPr bwMode="auto">
              <a:xfrm>
                <a:off x="4851400" y="4629150"/>
                <a:ext cx="431800" cy="231775"/>
              </a:xfrm>
              <a:custGeom>
                <a:avLst/>
                <a:gdLst>
                  <a:gd name="T0" fmla="*/ 272 w 272"/>
                  <a:gd name="T1" fmla="*/ 146 h 146"/>
                  <a:gd name="T2" fmla="*/ 254 w 272"/>
                  <a:gd name="T3" fmla="*/ 146 h 146"/>
                  <a:gd name="T4" fmla="*/ 254 w 272"/>
                  <a:gd name="T5" fmla="*/ 138 h 146"/>
                  <a:gd name="T6" fmla="*/ 254 w 272"/>
                  <a:gd name="T7" fmla="*/ 138 h 146"/>
                  <a:gd name="T8" fmla="*/ 254 w 272"/>
                  <a:gd name="T9" fmla="*/ 124 h 146"/>
                  <a:gd name="T10" fmla="*/ 252 w 272"/>
                  <a:gd name="T11" fmla="*/ 114 h 146"/>
                  <a:gd name="T12" fmla="*/ 246 w 272"/>
                  <a:gd name="T13" fmla="*/ 92 h 146"/>
                  <a:gd name="T14" fmla="*/ 234 w 272"/>
                  <a:gd name="T15" fmla="*/ 70 h 146"/>
                  <a:gd name="T16" fmla="*/ 220 w 272"/>
                  <a:gd name="T17" fmla="*/ 54 h 146"/>
                  <a:gd name="T18" fmla="*/ 202 w 272"/>
                  <a:gd name="T19" fmla="*/ 38 h 146"/>
                  <a:gd name="T20" fmla="*/ 182 w 272"/>
                  <a:gd name="T21" fmla="*/ 28 h 146"/>
                  <a:gd name="T22" fmla="*/ 160 w 272"/>
                  <a:gd name="T23" fmla="*/ 22 h 146"/>
                  <a:gd name="T24" fmla="*/ 148 w 272"/>
                  <a:gd name="T25" fmla="*/ 20 h 146"/>
                  <a:gd name="T26" fmla="*/ 136 w 272"/>
                  <a:gd name="T27" fmla="*/ 18 h 146"/>
                  <a:gd name="T28" fmla="*/ 136 w 272"/>
                  <a:gd name="T29" fmla="*/ 18 h 146"/>
                  <a:gd name="T30" fmla="*/ 124 w 272"/>
                  <a:gd name="T31" fmla="*/ 20 h 146"/>
                  <a:gd name="T32" fmla="*/ 112 w 272"/>
                  <a:gd name="T33" fmla="*/ 22 h 146"/>
                  <a:gd name="T34" fmla="*/ 90 w 272"/>
                  <a:gd name="T35" fmla="*/ 28 h 146"/>
                  <a:gd name="T36" fmla="*/ 70 w 272"/>
                  <a:gd name="T37" fmla="*/ 38 h 146"/>
                  <a:gd name="T38" fmla="*/ 52 w 272"/>
                  <a:gd name="T39" fmla="*/ 54 h 146"/>
                  <a:gd name="T40" fmla="*/ 38 w 272"/>
                  <a:gd name="T41" fmla="*/ 70 h 146"/>
                  <a:gd name="T42" fmla="*/ 28 w 272"/>
                  <a:gd name="T43" fmla="*/ 92 h 146"/>
                  <a:gd name="T44" fmla="*/ 20 w 272"/>
                  <a:gd name="T45" fmla="*/ 114 h 146"/>
                  <a:gd name="T46" fmla="*/ 18 w 272"/>
                  <a:gd name="T47" fmla="*/ 124 h 146"/>
                  <a:gd name="T48" fmla="*/ 18 w 272"/>
                  <a:gd name="T49" fmla="*/ 138 h 146"/>
                  <a:gd name="T50" fmla="*/ 18 w 272"/>
                  <a:gd name="T51" fmla="*/ 146 h 146"/>
                  <a:gd name="T52" fmla="*/ 0 w 272"/>
                  <a:gd name="T53" fmla="*/ 146 h 146"/>
                  <a:gd name="T54" fmla="*/ 0 w 272"/>
                  <a:gd name="T55" fmla="*/ 138 h 146"/>
                  <a:gd name="T56" fmla="*/ 0 w 272"/>
                  <a:gd name="T57" fmla="*/ 138 h 146"/>
                  <a:gd name="T58" fmla="*/ 0 w 272"/>
                  <a:gd name="T59" fmla="*/ 124 h 146"/>
                  <a:gd name="T60" fmla="*/ 2 w 272"/>
                  <a:gd name="T61" fmla="*/ 110 h 146"/>
                  <a:gd name="T62" fmla="*/ 6 w 272"/>
                  <a:gd name="T63" fmla="*/ 96 h 146"/>
                  <a:gd name="T64" fmla="*/ 10 w 272"/>
                  <a:gd name="T65" fmla="*/ 84 h 146"/>
                  <a:gd name="T66" fmla="*/ 16 w 272"/>
                  <a:gd name="T67" fmla="*/ 72 h 146"/>
                  <a:gd name="T68" fmla="*/ 24 w 272"/>
                  <a:gd name="T69" fmla="*/ 60 h 146"/>
                  <a:gd name="T70" fmla="*/ 32 w 272"/>
                  <a:gd name="T71" fmla="*/ 50 h 146"/>
                  <a:gd name="T72" fmla="*/ 40 w 272"/>
                  <a:gd name="T73" fmla="*/ 40 h 146"/>
                  <a:gd name="T74" fmla="*/ 50 w 272"/>
                  <a:gd name="T75" fmla="*/ 32 h 146"/>
                  <a:gd name="T76" fmla="*/ 60 w 272"/>
                  <a:gd name="T77" fmla="*/ 24 h 146"/>
                  <a:gd name="T78" fmla="*/ 72 w 272"/>
                  <a:gd name="T79" fmla="*/ 18 h 146"/>
                  <a:gd name="T80" fmla="*/ 84 w 272"/>
                  <a:gd name="T81" fmla="*/ 12 h 146"/>
                  <a:gd name="T82" fmla="*/ 96 w 272"/>
                  <a:gd name="T83" fmla="*/ 6 h 146"/>
                  <a:gd name="T84" fmla="*/ 110 w 272"/>
                  <a:gd name="T85" fmla="*/ 4 h 146"/>
                  <a:gd name="T86" fmla="*/ 122 w 272"/>
                  <a:gd name="T87" fmla="*/ 2 h 146"/>
                  <a:gd name="T88" fmla="*/ 136 w 272"/>
                  <a:gd name="T89" fmla="*/ 0 h 146"/>
                  <a:gd name="T90" fmla="*/ 136 w 272"/>
                  <a:gd name="T91" fmla="*/ 0 h 146"/>
                  <a:gd name="T92" fmla="*/ 150 w 272"/>
                  <a:gd name="T93" fmla="*/ 2 h 146"/>
                  <a:gd name="T94" fmla="*/ 164 w 272"/>
                  <a:gd name="T95" fmla="*/ 4 h 146"/>
                  <a:gd name="T96" fmla="*/ 178 w 272"/>
                  <a:gd name="T97" fmla="*/ 6 h 146"/>
                  <a:gd name="T98" fmla="*/ 190 w 272"/>
                  <a:gd name="T99" fmla="*/ 12 h 146"/>
                  <a:gd name="T100" fmla="*/ 202 w 272"/>
                  <a:gd name="T101" fmla="*/ 18 h 146"/>
                  <a:gd name="T102" fmla="*/ 212 w 272"/>
                  <a:gd name="T103" fmla="*/ 24 h 146"/>
                  <a:gd name="T104" fmla="*/ 224 w 272"/>
                  <a:gd name="T105" fmla="*/ 32 h 146"/>
                  <a:gd name="T106" fmla="*/ 232 w 272"/>
                  <a:gd name="T107" fmla="*/ 40 h 146"/>
                  <a:gd name="T108" fmla="*/ 242 w 272"/>
                  <a:gd name="T109" fmla="*/ 50 h 146"/>
                  <a:gd name="T110" fmla="*/ 250 w 272"/>
                  <a:gd name="T111" fmla="*/ 60 h 146"/>
                  <a:gd name="T112" fmla="*/ 256 w 272"/>
                  <a:gd name="T113" fmla="*/ 72 h 146"/>
                  <a:gd name="T114" fmla="*/ 262 w 272"/>
                  <a:gd name="T115" fmla="*/ 84 h 146"/>
                  <a:gd name="T116" fmla="*/ 266 w 272"/>
                  <a:gd name="T117" fmla="*/ 96 h 146"/>
                  <a:gd name="T118" fmla="*/ 270 w 272"/>
                  <a:gd name="T119" fmla="*/ 110 h 146"/>
                  <a:gd name="T120" fmla="*/ 272 w 272"/>
                  <a:gd name="T121" fmla="*/ 124 h 146"/>
                  <a:gd name="T122" fmla="*/ 272 w 272"/>
                  <a:gd name="T123" fmla="*/ 138 h 146"/>
                  <a:gd name="T124" fmla="*/ 272 w 272"/>
                  <a:gd name="T12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2" h="146">
                    <a:moveTo>
                      <a:pt x="272" y="146"/>
                    </a:moveTo>
                    <a:lnTo>
                      <a:pt x="254" y="146"/>
                    </a:lnTo>
                    <a:lnTo>
                      <a:pt x="254" y="138"/>
                    </a:lnTo>
                    <a:lnTo>
                      <a:pt x="254" y="138"/>
                    </a:lnTo>
                    <a:lnTo>
                      <a:pt x="254" y="124"/>
                    </a:lnTo>
                    <a:lnTo>
                      <a:pt x="252" y="114"/>
                    </a:lnTo>
                    <a:lnTo>
                      <a:pt x="246" y="92"/>
                    </a:lnTo>
                    <a:lnTo>
                      <a:pt x="234" y="70"/>
                    </a:lnTo>
                    <a:lnTo>
                      <a:pt x="220" y="54"/>
                    </a:lnTo>
                    <a:lnTo>
                      <a:pt x="202" y="38"/>
                    </a:lnTo>
                    <a:lnTo>
                      <a:pt x="182" y="28"/>
                    </a:lnTo>
                    <a:lnTo>
                      <a:pt x="160" y="22"/>
                    </a:lnTo>
                    <a:lnTo>
                      <a:pt x="148" y="20"/>
                    </a:lnTo>
                    <a:lnTo>
                      <a:pt x="136" y="18"/>
                    </a:lnTo>
                    <a:lnTo>
                      <a:pt x="136" y="18"/>
                    </a:lnTo>
                    <a:lnTo>
                      <a:pt x="124" y="20"/>
                    </a:lnTo>
                    <a:lnTo>
                      <a:pt x="112" y="22"/>
                    </a:lnTo>
                    <a:lnTo>
                      <a:pt x="90" y="28"/>
                    </a:lnTo>
                    <a:lnTo>
                      <a:pt x="70" y="38"/>
                    </a:lnTo>
                    <a:lnTo>
                      <a:pt x="52" y="54"/>
                    </a:lnTo>
                    <a:lnTo>
                      <a:pt x="38" y="70"/>
                    </a:lnTo>
                    <a:lnTo>
                      <a:pt x="28" y="92"/>
                    </a:lnTo>
                    <a:lnTo>
                      <a:pt x="20" y="114"/>
                    </a:lnTo>
                    <a:lnTo>
                      <a:pt x="18" y="124"/>
                    </a:lnTo>
                    <a:lnTo>
                      <a:pt x="18" y="138"/>
                    </a:lnTo>
                    <a:lnTo>
                      <a:pt x="18" y="146"/>
                    </a:lnTo>
                    <a:lnTo>
                      <a:pt x="0" y="146"/>
                    </a:lnTo>
                    <a:lnTo>
                      <a:pt x="0" y="138"/>
                    </a:lnTo>
                    <a:lnTo>
                      <a:pt x="0" y="138"/>
                    </a:lnTo>
                    <a:lnTo>
                      <a:pt x="0" y="124"/>
                    </a:lnTo>
                    <a:lnTo>
                      <a:pt x="2" y="110"/>
                    </a:lnTo>
                    <a:lnTo>
                      <a:pt x="6" y="96"/>
                    </a:lnTo>
                    <a:lnTo>
                      <a:pt x="10" y="84"/>
                    </a:lnTo>
                    <a:lnTo>
                      <a:pt x="16" y="72"/>
                    </a:lnTo>
                    <a:lnTo>
                      <a:pt x="24" y="60"/>
                    </a:lnTo>
                    <a:lnTo>
                      <a:pt x="32" y="50"/>
                    </a:lnTo>
                    <a:lnTo>
                      <a:pt x="40" y="40"/>
                    </a:lnTo>
                    <a:lnTo>
                      <a:pt x="50" y="32"/>
                    </a:lnTo>
                    <a:lnTo>
                      <a:pt x="60" y="24"/>
                    </a:lnTo>
                    <a:lnTo>
                      <a:pt x="72" y="18"/>
                    </a:lnTo>
                    <a:lnTo>
                      <a:pt x="84" y="12"/>
                    </a:lnTo>
                    <a:lnTo>
                      <a:pt x="96" y="6"/>
                    </a:lnTo>
                    <a:lnTo>
                      <a:pt x="110" y="4"/>
                    </a:lnTo>
                    <a:lnTo>
                      <a:pt x="122" y="2"/>
                    </a:lnTo>
                    <a:lnTo>
                      <a:pt x="136" y="0"/>
                    </a:lnTo>
                    <a:lnTo>
                      <a:pt x="136" y="0"/>
                    </a:lnTo>
                    <a:lnTo>
                      <a:pt x="150" y="2"/>
                    </a:lnTo>
                    <a:lnTo>
                      <a:pt x="164" y="4"/>
                    </a:lnTo>
                    <a:lnTo>
                      <a:pt x="178" y="6"/>
                    </a:lnTo>
                    <a:lnTo>
                      <a:pt x="190" y="12"/>
                    </a:lnTo>
                    <a:lnTo>
                      <a:pt x="202" y="18"/>
                    </a:lnTo>
                    <a:lnTo>
                      <a:pt x="212" y="24"/>
                    </a:lnTo>
                    <a:lnTo>
                      <a:pt x="224" y="32"/>
                    </a:lnTo>
                    <a:lnTo>
                      <a:pt x="232" y="40"/>
                    </a:lnTo>
                    <a:lnTo>
                      <a:pt x="242" y="50"/>
                    </a:lnTo>
                    <a:lnTo>
                      <a:pt x="250" y="60"/>
                    </a:lnTo>
                    <a:lnTo>
                      <a:pt x="256" y="72"/>
                    </a:lnTo>
                    <a:lnTo>
                      <a:pt x="262" y="84"/>
                    </a:lnTo>
                    <a:lnTo>
                      <a:pt x="266" y="96"/>
                    </a:lnTo>
                    <a:lnTo>
                      <a:pt x="270" y="110"/>
                    </a:lnTo>
                    <a:lnTo>
                      <a:pt x="272" y="124"/>
                    </a:lnTo>
                    <a:lnTo>
                      <a:pt x="272" y="138"/>
                    </a:lnTo>
                    <a:lnTo>
                      <a:pt x="272" y="1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34">
                <a:extLst>
                  <a:ext uri="{FF2B5EF4-FFF2-40B4-BE49-F238E27FC236}">
                    <a16:creationId xmlns:a16="http://schemas.microsoft.com/office/drawing/2014/main" id="{EAEE6BAF-0605-413B-B4C4-E43508F9F401}"/>
                  </a:ext>
                </a:extLst>
              </p:cNvPr>
              <p:cNvSpPr>
                <a:spLocks noEditPoints="1"/>
              </p:cNvSpPr>
              <p:nvPr/>
            </p:nvSpPr>
            <p:spPr bwMode="auto">
              <a:xfrm>
                <a:off x="4819650" y="5187950"/>
                <a:ext cx="511175" cy="114300"/>
              </a:xfrm>
              <a:custGeom>
                <a:avLst/>
                <a:gdLst>
                  <a:gd name="T0" fmla="*/ 322 w 322"/>
                  <a:gd name="T1" fmla="*/ 72 h 72"/>
                  <a:gd name="T2" fmla="*/ 0 w 322"/>
                  <a:gd name="T3" fmla="*/ 72 h 72"/>
                  <a:gd name="T4" fmla="*/ 0 w 322"/>
                  <a:gd name="T5" fmla="*/ 0 h 72"/>
                  <a:gd name="T6" fmla="*/ 322 w 322"/>
                  <a:gd name="T7" fmla="*/ 0 h 72"/>
                  <a:gd name="T8" fmla="*/ 322 w 322"/>
                  <a:gd name="T9" fmla="*/ 72 h 72"/>
                  <a:gd name="T10" fmla="*/ 18 w 322"/>
                  <a:gd name="T11" fmla="*/ 54 h 72"/>
                  <a:gd name="T12" fmla="*/ 304 w 322"/>
                  <a:gd name="T13" fmla="*/ 54 h 72"/>
                  <a:gd name="T14" fmla="*/ 304 w 322"/>
                  <a:gd name="T15" fmla="*/ 18 h 72"/>
                  <a:gd name="T16" fmla="*/ 18 w 322"/>
                  <a:gd name="T17" fmla="*/ 18 h 72"/>
                  <a:gd name="T18" fmla="*/ 18 w 322"/>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72">
                    <a:moveTo>
                      <a:pt x="322" y="72"/>
                    </a:moveTo>
                    <a:lnTo>
                      <a:pt x="0" y="72"/>
                    </a:lnTo>
                    <a:lnTo>
                      <a:pt x="0" y="0"/>
                    </a:lnTo>
                    <a:lnTo>
                      <a:pt x="322" y="0"/>
                    </a:lnTo>
                    <a:lnTo>
                      <a:pt x="322" y="72"/>
                    </a:lnTo>
                    <a:close/>
                    <a:moveTo>
                      <a:pt x="18" y="54"/>
                    </a:moveTo>
                    <a:lnTo>
                      <a:pt x="304" y="54"/>
                    </a:lnTo>
                    <a:lnTo>
                      <a:pt x="304" y="18"/>
                    </a:lnTo>
                    <a:lnTo>
                      <a:pt x="18" y="18"/>
                    </a:lnTo>
                    <a:lnTo>
                      <a:pt x="18"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35">
                <a:extLst>
                  <a:ext uri="{FF2B5EF4-FFF2-40B4-BE49-F238E27FC236}">
                    <a16:creationId xmlns:a16="http://schemas.microsoft.com/office/drawing/2014/main" id="{4EE589A7-035F-49F6-9E9C-27D0A3863854}"/>
                  </a:ext>
                </a:extLst>
              </p:cNvPr>
              <p:cNvSpPr>
                <a:spLocks noEditPoints="1"/>
              </p:cNvSpPr>
              <p:nvPr/>
            </p:nvSpPr>
            <p:spPr bwMode="auto">
              <a:xfrm>
                <a:off x="4819650" y="5334000"/>
                <a:ext cx="95250" cy="9525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36">
                <a:extLst>
                  <a:ext uri="{FF2B5EF4-FFF2-40B4-BE49-F238E27FC236}">
                    <a16:creationId xmlns:a16="http://schemas.microsoft.com/office/drawing/2014/main" id="{BF555E55-06CF-406B-9229-00582B0BBBC2}"/>
                  </a:ext>
                </a:extLst>
              </p:cNvPr>
              <p:cNvSpPr>
                <a:spLocks noEditPoints="1"/>
              </p:cNvSpPr>
              <p:nvPr/>
            </p:nvSpPr>
            <p:spPr bwMode="auto">
              <a:xfrm>
                <a:off x="4956175" y="5334000"/>
                <a:ext cx="95250" cy="9525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37">
                <a:extLst>
                  <a:ext uri="{FF2B5EF4-FFF2-40B4-BE49-F238E27FC236}">
                    <a16:creationId xmlns:a16="http://schemas.microsoft.com/office/drawing/2014/main" id="{5499DF4F-8D6F-4A37-99F3-63EEDEE989CA}"/>
                  </a:ext>
                </a:extLst>
              </p:cNvPr>
              <p:cNvSpPr>
                <a:spLocks noEditPoints="1"/>
              </p:cNvSpPr>
              <p:nvPr/>
            </p:nvSpPr>
            <p:spPr bwMode="auto">
              <a:xfrm>
                <a:off x="5095875" y="5334000"/>
                <a:ext cx="95250" cy="9525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38">
                <a:extLst>
                  <a:ext uri="{FF2B5EF4-FFF2-40B4-BE49-F238E27FC236}">
                    <a16:creationId xmlns:a16="http://schemas.microsoft.com/office/drawing/2014/main" id="{BDE88D0D-E49A-4777-AABD-065C37CFB717}"/>
                  </a:ext>
                </a:extLst>
              </p:cNvPr>
              <p:cNvSpPr>
                <a:spLocks noEditPoints="1"/>
              </p:cNvSpPr>
              <p:nvPr/>
            </p:nvSpPr>
            <p:spPr bwMode="auto">
              <a:xfrm>
                <a:off x="5235575" y="5334000"/>
                <a:ext cx="95250" cy="9525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7" name="Group 106">
              <a:extLst>
                <a:ext uri="{FF2B5EF4-FFF2-40B4-BE49-F238E27FC236}">
                  <a16:creationId xmlns:a16="http://schemas.microsoft.com/office/drawing/2014/main" id="{2A536935-CA0E-48C7-B8BD-66C7136FA636}"/>
                </a:ext>
              </a:extLst>
            </p:cNvPr>
            <p:cNvGrpSpPr/>
            <p:nvPr/>
          </p:nvGrpSpPr>
          <p:grpSpPr>
            <a:xfrm>
              <a:off x="8231392" y="2105154"/>
              <a:ext cx="395738" cy="386895"/>
              <a:chOff x="6192089" y="3902710"/>
              <a:chExt cx="1136650" cy="1111250"/>
            </a:xfrm>
          </p:grpSpPr>
          <p:sp>
            <p:nvSpPr>
              <p:cNvPr id="108" name="Freeform 35">
                <a:extLst>
                  <a:ext uri="{FF2B5EF4-FFF2-40B4-BE49-F238E27FC236}">
                    <a16:creationId xmlns:a16="http://schemas.microsoft.com/office/drawing/2014/main" id="{AD779B5C-4557-43DF-A5C9-1684C8AE5C04}"/>
                  </a:ext>
                </a:extLst>
              </p:cNvPr>
              <p:cNvSpPr>
                <a:spLocks noEditPoints="1"/>
              </p:cNvSpPr>
              <p:nvPr/>
            </p:nvSpPr>
            <p:spPr bwMode="auto">
              <a:xfrm>
                <a:off x="6338139" y="4023360"/>
                <a:ext cx="869950" cy="869950"/>
              </a:xfrm>
              <a:custGeom>
                <a:avLst/>
                <a:gdLst>
                  <a:gd name="T0" fmla="*/ 246 w 548"/>
                  <a:gd name="T1" fmla="*/ 548 h 548"/>
                  <a:gd name="T2" fmla="*/ 168 w 548"/>
                  <a:gd name="T3" fmla="*/ 528 h 548"/>
                  <a:gd name="T4" fmla="*/ 100 w 548"/>
                  <a:gd name="T5" fmla="*/ 486 h 548"/>
                  <a:gd name="T6" fmla="*/ 46 w 548"/>
                  <a:gd name="T7" fmla="*/ 428 h 548"/>
                  <a:gd name="T8" fmla="*/ 12 w 548"/>
                  <a:gd name="T9" fmla="*/ 356 h 548"/>
                  <a:gd name="T10" fmla="*/ 0 w 548"/>
                  <a:gd name="T11" fmla="*/ 274 h 548"/>
                  <a:gd name="T12" fmla="*/ 6 w 548"/>
                  <a:gd name="T13" fmla="*/ 220 h 548"/>
                  <a:gd name="T14" fmla="*/ 32 w 548"/>
                  <a:gd name="T15" fmla="*/ 144 h 548"/>
                  <a:gd name="T16" fmla="*/ 80 w 548"/>
                  <a:gd name="T17" fmla="*/ 80 h 548"/>
                  <a:gd name="T18" fmla="*/ 144 w 548"/>
                  <a:gd name="T19" fmla="*/ 34 h 548"/>
                  <a:gd name="T20" fmla="*/ 218 w 548"/>
                  <a:gd name="T21" fmla="*/ 6 h 548"/>
                  <a:gd name="T22" fmla="*/ 274 w 548"/>
                  <a:gd name="T23" fmla="*/ 0 h 548"/>
                  <a:gd name="T24" fmla="*/ 356 w 548"/>
                  <a:gd name="T25" fmla="*/ 12 h 548"/>
                  <a:gd name="T26" fmla="*/ 428 w 548"/>
                  <a:gd name="T27" fmla="*/ 48 h 548"/>
                  <a:gd name="T28" fmla="*/ 486 w 548"/>
                  <a:gd name="T29" fmla="*/ 100 h 548"/>
                  <a:gd name="T30" fmla="*/ 526 w 548"/>
                  <a:gd name="T31" fmla="*/ 168 h 548"/>
                  <a:gd name="T32" fmla="*/ 546 w 548"/>
                  <a:gd name="T33" fmla="*/ 246 h 548"/>
                  <a:gd name="T34" fmla="*/ 546 w 548"/>
                  <a:gd name="T35" fmla="*/ 302 h 548"/>
                  <a:gd name="T36" fmla="*/ 526 w 548"/>
                  <a:gd name="T37" fmla="*/ 382 h 548"/>
                  <a:gd name="T38" fmla="*/ 486 w 548"/>
                  <a:gd name="T39" fmla="*/ 448 h 548"/>
                  <a:gd name="T40" fmla="*/ 428 w 548"/>
                  <a:gd name="T41" fmla="*/ 502 h 548"/>
                  <a:gd name="T42" fmla="*/ 356 w 548"/>
                  <a:gd name="T43" fmla="*/ 536 h 548"/>
                  <a:gd name="T44" fmla="*/ 274 w 548"/>
                  <a:gd name="T45" fmla="*/ 548 h 548"/>
                  <a:gd name="T46" fmla="*/ 274 w 548"/>
                  <a:gd name="T47" fmla="*/ 18 h 548"/>
                  <a:gd name="T48" fmla="*/ 198 w 548"/>
                  <a:gd name="T49" fmla="*/ 30 h 548"/>
                  <a:gd name="T50" fmla="*/ 130 w 548"/>
                  <a:gd name="T51" fmla="*/ 62 h 548"/>
                  <a:gd name="T52" fmla="*/ 76 w 548"/>
                  <a:gd name="T53" fmla="*/ 112 h 548"/>
                  <a:gd name="T54" fmla="*/ 38 w 548"/>
                  <a:gd name="T55" fmla="*/ 174 h 548"/>
                  <a:gd name="T56" fmla="*/ 20 w 548"/>
                  <a:gd name="T57" fmla="*/ 248 h 548"/>
                  <a:gd name="T58" fmla="*/ 20 w 548"/>
                  <a:gd name="T59" fmla="*/ 300 h 548"/>
                  <a:gd name="T60" fmla="*/ 38 w 548"/>
                  <a:gd name="T61" fmla="*/ 374 h 548"/>
                  <a:gd name="T62" fmla="*/ 76 w 548"/>
                  <a:gd name="T63" fmla="*/ 438 h 548"/>
                  <a:gd name="T64" fmla="*/ 130 w 548"/>
                  <a:gd name="T65" fmla="*/ 486 h 548"/>
                  <a:gd name="T66" fmla="*/ 198 w 548"/>
                  <a:gd name="T67" fmla="*/ 520 h 548"/>
                  <a:gd name="T68" fmla="*/ 274 w 548"/>
                  <a:gd name="T69" fmla="*/ 530 h 548"/>
                  <a:gd name="T70" fmla="*/ 326 w 548"/>
                  <a:gd name="T71" fmla="*/ 526 h 548"/>
                  <a:gd name="T72" fmla="*/ 396 w 548"/>
                  <a:gd name="T73" fmla="*/ 500 h 548"/>
                  <a:gd name="T74" fmla="*/ 456 w 548"/>
                  <a:gd name="T75" fmla="*/ 456 h 548"/>
                  <a:gd name="T76" fmla="*/ 500 w 548"/>
                  <a:gd name="T77" fmla="*/ 396 h 548"/>
                  <a:gd name="T78" fmla="*/ 524 w 548"/>
                  <a:gd name="T79" fmla="*/ 326 h 548"/>
                  <a:gd name="T80" fmla="*/ 530 w 548"/>
                  <a:gd name="T81" fmla="*/ 274 h 548"/>
                  <a:gd name="T82" fmla="*/ 518 w 548"/>
                  <a:gd name="T83" fmla="*/ 198 h 548"/>
                  <a:gd name="T84" fmla="*/ 486 w 548"/>
                  <a:gd name="T85" fmla="*/ 132 h 548"/>
                  <a:gd name="T86" fmla="*/ 436 w 548"/>
                  <a:gd name="T87" fmla="*/ 76 h 548"/>
                  <a:gd name="T88" fmla="*/ 374 w 548"/>
                  <a:gd name="T89" fmla="*/ 38 h 548"/>
                  <a:gd name="T90" fmla="*/ 300 w 548"/>
                  <a:gd name="T91" fmla="*/ 2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8" h="548">
                    <a:moveTo>
                      <a:pt x="274" y="548"/>
                    </a:moveTo>
                    <a:lnTo>
                      <a:pt x="274" y="548"/>
                    </a:lnTo>
                    <a:lnTo>
                      <a:pt x="246" y="548"/>
                    </a:lnTo>
                    <a:lnTo>
                      <a:pt x="218" y="544"/>
                    </a:lnTo>
                    <a:lnTo>
                      <a:pt x="192" y="536"/>
                    </a:lnTo>
                    <a:lnTo>
                      <a:pt x="168" y="528"/>
                    </a:lnTo>
                    <a:lnTo>
                      <a:pt x="144" y="516"/>
                    </a:lnTo>
                    <a:lnTo>
                      <a:pt x="120" y="502"/>
                    </a:lnTo>
                    <a:lnTo>
                      <a:pt x="100" y="486"/>
                    </a:lnTo>
                    <a:lnTo>
                      <a:pt x="80" y="468"/>
                    </a:lnTo>
                    <a:lnTo>
                      <a:pt x="62" y="448"/>
                    </a:lnTo>
                    <a:lnTo>
                      <a:pt x="46" y="428"/>
                    </a:lnTo>
                    <a:lnTo>
                      <a:pt x="32" y="406"/>
                    </a:lnTo>
                    <a:lnTo>
                      <a:pt x="22" y="382"/>
                    </a:lnTo>
                    <a:lnTo>
                      <a:pt x="12" y="356"/>
                    </a:lnTo>
                    <a:lnTo>
                      <a:pt x="6" y="330"/>
                    </a:lnTo>
                    <a:lnTo>
                      <a:pt x="2" y="302"/>
                    </a:lnTo>
                    <a:lnTo>
                      <a:pt x="0" y="274"/>
                    </a:lnTo>
                    <a:lnTo>
                      <a:pt x="0" y="274"/>
                    </a:lnTo>
                    <a:lnTo>
                      <a:pt x="2" y="246"/>
                    </a:lnTo>
                    <a:lnTo>
                      <a:pt x="6" y="220"/>
                    </a:lnTo>
                    <a:lnTo>
                      <a:pt x="12" y="194"/>
                    </a:lnTo>
                    <a:lnTo>
                      <a:pt x="22" y="168"/>
                    </a:lnTo>
                    <a:lnTo>
                      <a:pt x="32" y="144"/>
                    </a:lnTo>
                    <a:lnTo>
                      <a:pt x="46" y="122"/>
                    </a:lnTo>
                    <a:lnTo>
                      <a:pt x="62" y="100"/>
                    </a:lnTo>
                    <a:lnTo>
                      <a:pt x="80" y="80"/>
                    </a:lnTo>
                    <a:lnTo>
                      <a:pt x="100" y="64"/>
                    </a:lnTo>
                    <a:lnTo>
                      <a:pt x="120" y="48"/>
                    </a:lnTo>
                    <a:lnTo>
                      <a:pt x="144" y="34"/>
                    </a:lnTo>
                    <a:lnTo>
                      <a:pt x="168" y="22"/>
                    </a:lnTo>
                    <a:lnTo>
                      <a:pt x="192" y="12"/>
                    </a:lnTo>
                    <a:lnTo>
                      <a:pt x="218" y="6"/>
                    </a:lnTo>
                    <a:lnTo>
                      <a:pt x="246" y="2"/>
                    </a:lnTo>
                    <a:lnTo>
                      <a:pt x="274" y="0"/>
                    </a:lnTo>
                    <a:lnTo>
                      <a:pt x="274" y="0"/>
                    </a:lnTo>
                    <a:lnTo>
                      <a:pt x="302" y="2"/>
                    </a:lnTo>
                    <a:lnTo>
                      <a:pt x="330" y="6"/>
                    </a:lnTo>
                    <a:lnTo>
                      <a:pt x="356" y="12"/>
                    </a:lnTo>
                    <a:lnTo>
                      <a:pt x="380" y="22"/>
                    </a:lnTo>
                    <a:lnTo>
                      <a:pt x="404" y="34"/>
                    </a:lnTo>
                    <a:lnTo>
                      <a:pt x="428" y="48"/>
                    </a:lnTo>
                    <a:lnTo>
                      <a:pt x="448" y="64"/>
                    </a:lnTo>
                    <a:lnTo>
                      <a:pt x="468" y="80"/>
                    </a:lnTo>
                    <a:lnTo>
                      <a:pt x="486" y="100"/>
                    </a:lnTo>
                    <a:lnTo>
                      <a:pt x="502" y="122"/>
                    </a:lnTo>
                    <a:lnTo>
                      <a:pt x="516" y="144"/>
                    </a:lnTo>
                    <a:lnTo>
                      <a:pt x="526" y="168"/>
                    </a:lnTo>
                    <a:lnTo>
                      <a:pt x="536" y="194"/>
                    </a:lnTo>
                    <a:lnTo>
                      <a:pt x="542" y="220"/>
                    </a:lnTo>
                    <a:lnTo>
                      <a:pt x="546" y="246"/>
                    </a:lnTo>
                    <a:lnTo>
                      <a:pt x="548" y="274"/>
                    </a:lnTo>
                    <a:lnTo>
                      <a:pt x="548" y="274"/>
                    </a:lnTo>
                    <a:lnTo>
                      <a:pt x="546" y="302"/>
                    </a:lnTo>
                    <a:lnTo>
                      <a:pt x="542" y="330"/>
                    </a:lnTo>
                    <a:lnTo>
                      <a:pt x="536" y="356"/>
                    </a:lnTo>
                    <a:lnTo>
                      <a:pt x="526" y="382"/>
                    </a:lnTo>
                    <a:lnTo>
                      <a:pt x="516" y="406"/>
                    </a:lnTo>
                    <a:lnTo>
                      <a:pt x="502" y="428"/>
                    </a:lnTo>
                    <a:lnTo>
                      <a:pt x="486" y="448"/>
                    </a:lnTo>
                    <a:lnTo>
                      <a:pt x="468" y="468"/>
                    </a:lnTo>
                    <a:lnTo>
                      <a:pt x="448" y="486"/>
                    </a:lnTo>
                    <a:lnTo>
                      <a:pt x="428" y="502"/>
                    </a:lnTo>
                    <a:lnTo>
                      <a:pt x="404" y="516"/>
                    </a:lnTo>
                    <a:lnTo>
                      <a:pt x="380" y="528"/>
                    </a:lnTo>
                    <a:lnTo>
                      <a:pt x="356" y="536"/>
                    </a:lnTo>
                    <a:lnTo>
                      <a:pt x="330" y="544"/>
                    </a:lnTo>
                    <a:lnTo>
                      <a:pt x="302" y="548"/>
                    </a:lnTo>
                    <a:lnTo>
                      <a:pt x="274" y="548"/>
                    </a:lnTo>
                    <a:lnTo>
                      <a:pt x="274" y="548"/>
                    </a:lnTo>
                    <a:close/>
                    <a:moveTo>
                      <a:pt x="274" y="18"/>
                    </a:moveTo>
                    <a:lnTo>
                      <a:pt x="274" y="18"/>
                    </a:lnTo>
                    <a:lnTo>
                      <a:pt x="248" y="20"/>
                    </a:lnTo>
                    <a:lnTo>
                      <a:pt x="222" y="24"/>
                    </a:lnTo>
                    <a:lnTo>
                      <a:pt x="198" y="30"/>
                    </a:lnTo>
                    <a:lnTo>
                      <a:pt x="174" y="38"/>
                    </a:lnTo>
                    <a:lnTo>
                      <a:pt x="152" y="50"/>
                    </a:lnTo>
                    <a:lnTo>
                      <a:pt x="130" y="62"/>
                    </a:lnTo>
                    <a:lnTo>
                      <a:pt x="112" y="76"/>
                    </a:lnTo>
                    <a:lnTo>
                      <a:pt x="92" y="94"/>
                    </a:lnTo>
                    <a:lnTo>
                      <a:pt x="76" y="112"/>
                    </a:lnTo>
                    <a:lnTo>
                      <a:pt x="62" y="132"/>
                    </a:lnTo>
                    <a:lnTo>
                      <a:pt x="48" y="152"/>
                    </a:lnTo>
                    <a:lnTo>
                      <a:pt x="38" y="174"/>
                    </a:lnTo>
                    <a:lnTo>
                      <a:pt x="30" y="198"/>
                    </a:lnTo>
                    <a:lnTo>
                      <a:pt x="22" y="222"/>
                    </a:lnTo>
                    <a:lnTo>
                      <a:pt x="20" y="248"/>
                    </a:lnTo>
                    <a:lnTo>
                      <a:pt x="18" y="274"/>
                    </a:lnTo>
                    <a:lnTo>
                      <a:pt x="18" y="274"/>
                    </a:lnTo>
                    <a:lnTo>
                      <a:pt x="20" y="300"/>
                    </a:lnTo>
                    <a:lnTo>
                      <a:pt x="22" y="326"/>
                    </a:lnTo>
                    <a:lnTo>
                      <a:pt x="30" y="350"/>
                    </a:lnTo>
                    <a:lnTo>
                      <a:pt x="38" y="374"/>
                    </a:lnTo>
                    <a:lnTo>
                      <a:pt x="48" y="396"/>
                    </a:lnTo>
                    <a:lnTo>
                      <a:pt x="62" y="418"/>
                    </a:lnTo>
                    <a:lnTo>
                      <a:pt x="76" y="438"/>
                    </a:lnTo>
                    <a:lnTo>
                      <a:pt x="92" y="456"/>
                    </a:lnTo>
                    <a:lnTo>
                      <a:pt x="112" y="472"/>
                    </a:lnTo>
                    <a:lnTo>
                      <a:pt x="130" y="486"/>
                    </a:lnTo>
                    <a:lnTo>
                      <a:pt x="152" y="500"/>
                    </a:lnTo>
                    <a:lnTo>
                      <a:pt x="174" y="510"/>
                    </a:lnTo>
                    <a:lnTo>
                      <a:pt x="198" y="520"/>
                    </a:lnTo>
                    <a:lnTo>
                      <a:pt x="222" y="526"/>
                    </a:lnTo>
                    <a:lnTo>
                      <a:pt x="248" y="530"/>
                    </a:lnTo>
                    <a:lnTo>
                      <a:pt x="274" y="530"/>
                    </a:lnTo>
                    <a:lnTo>
                      <a:pt x="274" y="530"/>
                    </a:lnTo>
                    <a:lnTo>
                      <a:pt x="300" y="530"/>
                    </a:lnTo>
                    <a:lnTo>
                      <a:pt x="326" y="526"/>
                    </a:lnTo>
                    <a:lnTo>
                      <a:pt x="350" y="520"/>
                    </a:lnTo>
                    <a:lnTo>
                      <a:pt x="374" y="510"/>
                    </a:lnTo>
                    <a:lnTo>
                      <a:pt x="396" y="500"/>
                    </a:lnTo>
                    <a:lnTo>
                      <a:pt x="418" y="486"/>
                    </a:lnTo>
                    <a:lnTo>
                      <a:pt x="436" y="472"/>
                    </a:lnTo>
                    <a:lnTo>
                      <a:pt x="456" y="456"/>
                    </a:lnTo>
                    <a:lnTo>
                      <a:pt x="472" y="438"/>
                    </a:lnTo>
                    <a:lnTo>
                      <a:pt x="486" y="418"/>
                    </a:lnTo>
                    <a:lnTo>
                      <a:pt x="500" y="396"/>
                    </a:lnTo>
                    <a:lnTo>
                      <a:pt x="510" y="374"/>
                    </a:lnTo>
                    <a:lnTo>
                      <a:pt x="518" y="350"/>
                    </a:lnTo>
                    <a:lnTo>
                      <a:pt x="524" y="326"/>
                    </a:lnTo>
                    <a:lnTo>
                      <a:pt x="528" y="300"/>
                    </a:lnTo>
                    <a:lnTo>
                      <a:pt x="530" y="274"/>
                    </a:lnTo>
                    <a:lnTo>
                      <a:pt x="530" y="274"/>
                    </a:lnTo>
                    <a:lnTo>
                      <a:pt x="528" y="248"/>
                    </a:lnTo>
                    <a:lnTo>
                      <a:pt x="524" y="222"/>
                    </a:lnTo>
                    <a:lnTo>
                      <a:pt x="518" y="198"/>
                    </a:lnTo>
                    <a:lnTo>
                      <a:pt x="510" y="174"/>
                    </a:lnTo>
                    <a:lnTo>
                      <a:pt x="500" y="152"/>
                    </a:lnTo>
                    <a:lnTo>
                      <a:pt x="486" y="132"/>
                    </a:lnTo>
                    <a:lnTo>
                      <a:pt x="472" y="112"/>
                    </a:lnTo>
                    <a:lnTo>
                      <a:pt x="456" y="94"/>
                    </a:lnTo>
                    <a:lnTo>
                      <a:pt x="436" y="76"/>
                    </a:lnTo>
                    <a:lnTo>
                      <a:pt x="418" y="62"/>
                    </a:lnTo>
                    <a:lnTo>
                      <a:pt x="396" y="50"/>
                    </a:lnTo>
                    <a:lnTo>
                      <a:pt x="374" y="38"/>
                    </a:lnTo>
                    <a:lnTo>
                      <a:pt x="350" y="30"/>
                    </a:lnTo>
                    <a:lnTo>
                      <a:pt x="326" y="24"/>
                    </a:lnTo>
                    <a:lnTo>
                      <a:pt x="300" y="20"/>
                    </a:lnTo>
                    <a:lnTo>
                      <a:pt x="274" y="18"/>
                    </a:lnTo>
                    <a:lnTo>
                      <a:pt x="274"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36">
                <a:extLst>
                  <a:ext uri="{FF2B5EF4-FFF2-40B4-BE49-F238E27FC236}">
                    <a16:creationId xmlns:a16="http://schemas.microsoft.com/office/drawing/2014/main" id="{2AE491C2-9697-4C69-8AB1-B2CBFA8ED2FF}"/>
                  </a:ext>
                </a:extLst>
              </p:cNvPr>
              <p:cNvSpPr>
                <a:spLocks noEditPoints="1"/>
              </p:cNvSpPr>
              <p:nvPr/>
            </p:nvSpPr>
            <p:spPr bwMode="auto">
              <a:xfrm>
                <a:off x="6554039" y="4023360"/>
                <a:ext cx="438150" cy="869950"/>
              </a:xfrm>
              <a:custGeom>
                <a:avLst/>
                <a:gdLst>
                  <a:gd name="T0" fmla="*/ 124 w 276"/>
                  <a:gd name="T1" fmla="*/ 548 h 548"/>
                  <a:gd name="T2" fmla="*/ 84 w 276"/>
                  <a:gd name="T3" fmla="*/ 528 h 548"/>
                  <a:gd name="T4" fmla="*/ 50 w 276"/>
                  <a:gd name="T5" fmla="*/ 486 h 548"/>
                  <a:gd name="T6" fmla="*/ 24 w 276"/>
                  <a:gd name="T7" fmla="*/ 428 h 548"/>
                  <a:gd name="T8" fmla="*/ 6 w 276"/>
                  <a:gd name="T9" fmla="*/ 356 h 548"/>
                  <a:gd name="T10" fmla="*/ 0 w 276"/>
                  <a:gd name="T11" fmla="*/ 274 h 548"/>
                  <a:gd name="T12" fmla="*/ 4 w 276"/>
                  <a:gd name="T13" fmla="*/ 218 h 548"/>
                  <a:gd name="T14" fmla="*/ 16 w 276"/>
                  <a:gd name="T15" fmla="*/ 142 h 548"/>
                  <a:gd name="T16" fmla="*/ 40 w 276"/>
                  <a:gd name="T17" fmla="*/ 80 h 548"/>
                  <a:gd name="T18" fmla="*/ 72 w 276"/>
                  <a:gd name="T19" fmla="*/ 32 h 548"/>
                  <a:gd name="T20" fmla="*/ 110 w 276"/>
                  <a:gd name="T21" fmla="*/ 6 h 548"/>
                  <a:gd name="T22" fmla="*/ 138 w 276"/>
                  <a:gd name="T23" fmla="*/ 0 h 548"/>
                  <a:gd name="T24" fmla="*/ 180 w 276"/>
                  <a:gd name="T25" fmla="*/ 12 h 548"/>
                  <a:gd name="T26" fmla="*/ 216 w 276"/>
                  <a:gd name="T27" fmla="*/ 46 h 548"/>
                  <a:gd name="T28" fmla="*/ 244 w 276"/>
                  <a:gd name="T29" fmla="*/ 100 h 548"/>
                  <a:gd name="T30" fmla="*/ 264 w 276"/>
                  <a:gd name="T31" fmla="*/ 166 h 548"/>
                  <a:gd name="T32" fmla="*/ 274 w 276"/>
                  <a:gd name="T33" fmla="*/ 246 h 548"/>
                  <a:gd name="T34" fmla="*/ 274 w 276"/>
                  <a:gd name="T35" fmla="*/ 302 h 548"/>
                  <a:gd name="T36" fmla="*/ 264 w 276"/>
                  <a:gd name="T37" fmla="*/ 382 h 548"/>
                  <a:gd name="T38" fmla="*/ 244 w 276"/>
                  <a:gd name="T39" fmla="*/ 450 h 548"/>
                  <a:gd name="T40" fmla="*/ 216 w 276"/>
                  <a:gd name="T41" fmla="*/ 502 h 548"/>
                  <a:gd name="T42" fmla="*/ 180 w 276"/>
                  <a:gd name="T43" fmla="*/ 536 h 548"/>
                  <a:gd name="T44" fmla="*/ 138 w 276"/>
                  <a:gd name="T45" fmla="*/ 548 h 548"/>
                  <a:gd name="T46" fmla="*/ 138 w 276"/>
                  <a:gd name="T47" fmla="*/ 18 h 548"/>
                  <a:gd name="T48" fmla="*/ 102 w 276"/>
                  <a:gd name="T49" fmla="*/ 30 h 548"/>
                  <a:gd name="T50" fmla="*/ 72 w 276"/>
                  <a:gd name="T51" fmla="*/ 62 h 548"/>
                  <a:gd name="T52" fmla="*/ 46 w 276"/>
                  <a:gd name="T53" fmla="*/ 112 h 548"/>
                  <a:gd name="T54" fmla="*/ 28 w 276"/>
                  <a:gd name="T55" fmla="*/ 176 h 548"/>
                  <a:gd name="T56" fmla="*/ 20 w 276"/>
                  <a:gd name="T57" fmla="*/ 248 h 548"/>
                  <a:gd name="T58" fmla="*/ 20 w 276"/>
                  <a:gd name="T59" fmla="*/ 300 h 548"/>
                  <a:gd name="T60" fmla="*/ 28 w 276"/>
                  <a:gd name="T61" fmla="*/ 374 h 548"/>
                  <a:gd name="T62" fmla="*/ 46 w 276"/>
                  <a:gd name="T63" fmla="*/ 436 h 548"/>
                  <a:gd name="T64" fmla="*/ 72 w 276"/>
                  <a:gd name="T65" fmla="*/ 486 h 548"/>
                  <a:gd name="T66" fmla="*/ 102 w 276"/>
                  <a:gd name="T67" fmla="*/ 518 h 548"/>
                  <a:gd name="T68" fmla="*/ 138 w 276"/>
                  <a:gd name="T69" fmla="*/ 530 h 548"/>
                  <a:gd name="T70" fmla="*/ 162 w 276"/>
                  <a:gd name="T71" fmla="*/ 526 h 548"/>
                  <a:gd name="T72" fmla="*/ 194 w 276"/>
                  <a:gd name="T73" fmla="*/ 500 h 548"/>
                  <a:gd name="T74" fmla="*/ 222 w 276"/>
                  <a:gd name="T75" fmla="*/ 454 h 548"/>
                  <a:gd name="T76" fmla="*/ 242 w 276"/>
                  <a:gd name="T77" fmla="*/ 396 h 548"/>
                  <a:gd name="T78" fmla="*/ 254 w 276"/>
                  <a:gd name="T79" fmla="*/ 326 h 548"/>
                  <a:gd name="T80" fmla="*/ 258 w 276"/>
                  <a:gd name="T81" fmla="*/ 274 h 548"/>
                  <a:gd name="T82" fmla="*/ 252 w 276"/>
                  <a:gd name="T83" fmla="*/ 200 h 548"/>
                  <a:gd name="T84" fmla="*/ 236 w 276"/>
                  <a:gd name="T85" fmla="*/ 132 h 548"/>
                  <a:gd name="T86" fmla="*/ 214 w 276"/>
                  <a:gd name="T87" fmla="*/ 78 h 548"/>
                  <a:gd name="T88" fmla="*/ 184 w 276"/>
                  <a:gd name="T89" fmla="*/ 38 h 548"/>
                  <a:gd name="T90" fmla="*/ 150 w 276"/>
                  <a:gd name="T91" fmla="*/ 2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6" h="548">
                    <a:moveTo>
                      <a:pt x="138" y="548"/>
                    </a:moveTo>
                    <a:lnTo>
                      <a:pt x="138" y="548"/>
                    </a:lnTo>
                    <a:lnTo>
                      <a:pt x="124" y="548"/>
                    </a:lnTo>
                    <a:lnTo>
                      <a:pt x="110" y="544"/>
                    </a:lnTo>
                    <a:lnTo>
                      <a:pt x="96" y="536"/>
                    </a:lnTo>
                    <a:lnTo>
                      <a:pt x="84" y="528"/>
                    </a:lnTo>
                    <a:lnTo>
                      <a:pt x="72" y="516"/>
                    </a:lnTo>
                    <a:lnTo>
                      <a:pt x="60" y="502"/>
                    </a:lnTo>
                    <a:lnTo>
                      <a:pt x="50" y="486"/>
                    </a:lnTo>
                    <a:lnTo>
                      <a:pt x="40" y="470"/>
                    </a:lnTo>
                    <a:lnTo>
                      <a:pt x="32" y="450"/>
                    </a:lnTo>
                    <a:lnTo>
                      <a:pt x="24" y="428"/>
                    </a:lnTo>
                    <a:lnTo>
                      <a:pt x="16" y="406"/>
                    </a:lnTo>
                    <a:lnTo>
                      <a:pt x="12" y="382"/>
                    </a:lnTo>
                    <a:lnTo>
                      <a:pt x="6" y="356"/>
                    </a:lnTo>
                    <a:lnTo>
                      <a:pt x="4" y="330"/>
                    </a:lnTo>
                    <a:lnTo>
                      <a:pt x="2" y="302"/>
                    </a:lnTo>
                    <a:lnTo>
                      <a:pt x="0" y="274"/>
                    </a:lnTo>
                    <a:lnTo>
                      <a:pt x="0" y="274"/>
                    </a:lnTo>
                    <a:lnTo>
                      <a:pt x="2" y="246"/>
                    </a:lnTo>
                    <a:lnTo>
                      <a:pt x="4" y="218"/>
                    </a:lnTo>
                    <a:lnTo>
                      <a:pt x="6" y="192"/>
                    </a:lnTo>
                    <a:lnTo>
                      <a:pt x="12" y="166"/>
                    </a:lnTo>
                    <a:lnTo>
                      <a:pt x="16" y="142"/>
                    </a:lnTo>
                    <a:lnTo>
                      <a:pt x="24" y="120"/>
                    </a:lnTo>
                    <a:lnTo>
                      <a:pt x="32" y="100"/>
                    </a:lnTo>
                    <a:lnTo>
                      <a:pt x="40" y="80"/>
                    </a:lnTo>
                    <a:lnTo>
                      <a:pt x="50" y="62"/>
                    </a:lnTo>
                    <a:lnTo>
                      <a:pt x="60" y="46"/>
                    </a:lnTo>
                    <a:lnTo>
                      <a:pt x="72" y="32"/>
                    </a:lnTo>
                    <a:lnTo>
                      <a:pt x="84" y="22"/>
                    </a:lnTo>
                    <a:lnTo>
                      <a:pt x="96" y="12"/>
                    </a:lnTo>
                    <a:lnTo>
                      <a:pt x="110" y="6"/>
                    </a:lnTo>
                    <a:lnTo>
                      <a:pt x="124" y="2"/>
                    </a:lnTo>
                    <a:lnTo>
                      <a:pt x="138" y="0"/>
                    </a:lnTo>
                    <a:lnTo>
                      <a:pt x="138" y="0"/>
                    </a:lnTo>
                    <a:lnTo>
                      <a:pt x="152" y="2"/>
                    </a:lnTo>
                    <a:lnTo>
                      <a:pt x="166" y="6"/>
                    </a:lnTo>
                    <a:lnTo>
                      <a:pt x="180" y="12"/>
                    </a:lnTo>
                    <a:lnTo>
                      <a:pt x="192" y="22"/>
                    </a:lnTo>
                    <a:lnTo>
                      <a:pt x="204" y="32"/>
                    </a:lnTo>
                    <a:lnTo>
                      <a:pt x="216" y="46"/>
                    </a:lnTo>
                    <a:lnTo>
                      <a:pt x="226" y="62"/>
                    </a:lnTo>
                    <a:lnTo>
                      <a:pt x="236" y="80"/>
                    </a:lnTo>
                    <a:lnTo>
                      <a:pt x="244" y="100"/>
                    </a:lnTo>
                    <a:lnTo>
                      <a:pt x="252" y="120"/>
                    </a:lnTo>
                    <a:lnTo>
                      <a:pt x="258" y="142"/>
                    </a:lnTo>
                    <a:lnTo>
                      <a:pt x="264" y="166"/>
                    </a:lnTo>
                    <a:lnTo>
                      <a:pt x="270" y="192"/>
                    </a:lnTo>
                    <a:lnTo>
                      <a:pt x="272" y="218"/>
                    </a:lnTo>
                    <a:lnTo>
                      <a:pt x="274" y="246"/>
                    </a:lnTo>
                    <a:lnTo>
                      <a:pt x="276" y="274"/>
                    </a:lnTo>
                    <a:lnTo>
                      <a:pt x="276" y="274"/>
                    </a:lnTo>
                    <a:lnTo>
                      <a:pt x="274" y="302"/>
                    </a:lnTo>
                    <a:lnTo>
                      <a:pt x="272" y="330"/>
                    </a:lnTo>
                    <a:lnTo>
                      <a:pt x="270" y="356"/>
                    </a:lnTo>
                    <a:lnTo>
                      <a:pt x="264" y="382"/>
                    </a:lnTo>
                    <a:lnTo>
                      <a:pt x="258" y="406"/>
                    </a:lnTo>
                    <a:lnTo>
                      <a:pt x="252" y="428"/>
                    </a:lnTo>
                    <a:lnTo>
                      <a:pt x="244" y="450"/>
                    </a:lnTo>
                    <a:lnTo>
                      <a:pt x="236" y="470"/>
                    </a:lnTo>
                    <a:lnTo>
                      <a:pt x="226" y="486"/>
                    </a:lnTo>
                    <a:lnTo>
                      <a:pt x="216" y="502"/>
                    </a:lnTo>
                    <a:lnTo>
                      <a:pt x="204" y="516"/>
                    </a:lnTo>
                    <a:lnTo>
                      <a:pt x="192" y="528"/>
                    </a:lnTo>
                    <a:lnTo>
                      <a:pt x="180" y="536"/>
                    </a:lnTo>
                    <a:lnTo>
                      <a:pt x="166" y="544"/>
                    </a:lnTo>
                    <a:lnTo>
                      <a:pt x="152" y="548"/>
                    </a:lnTo>
                    <a:lnTo>
                      <a:pt x="138" y="548"/>
                    </a:lnTo>
                    <a:lnTo>
                      <a:pt x="138" y="548"/>
                    </a:lnTo>
                    <a:close/>
                    <a:moveTo>
                      <a:pt x="138" y="18"/>
                    </a:moveTo>
                    <a:lnTo>
                      <a:pt x="138" y="18"/>
                    </a:lnTo>
                    <a:lnTo>
                      <a:pt x="126" y="20"/>
                    </a:lnTo>
                    <a:lnTo>
                      <a:pt x="114" y="24"/>
                    </a:lnTo>
                    <a:lnTo>
                      <a:pt x="102" y="30"/>
                    </a:lnTo>
                    <a:lnTo>
                      <a:pt x="92" y="38"/>
                    </a:lnTo>
                    <a:lnTo>
                      <a:pt x="82" y="50"/>
                    </a:lnTo>
                    <a:lnTo>
                      <a:pt x="72" y="62"/>
                    </a:lnTo>
                    <a:lnTo>
                      <a:pt x="62" y="78"/>
                    </a:lnTo>
                    <a:lnTo>
                      <a:pt x="54" y="94"/>
                    </a:lnTo>
                    <a:lnTo>
                      <a:pt x="46" y="112"/>
                    </a:lnTo>
                    <a:lnTo>
                      <a:pt x="40" y="132"/>
                    </a:lnTo>
                    <a:lnTo>
                      <a:pt x="34" y="154"/>
                    </a:lnTo>
                    <a:lnTo>
                      <a:pt x="28" y="176"/>
                    </a:lnTo>
                    <a:lnTo>
                      <a:pt x="24" y="200"/>
                    </a:lnTo>
                    <a:lnTo>
                      <a:pt x="22" y="224"/>
                    </a:lnTo>
                    <a:lnTo>
                      <a:pt x="20" y="248"/>
                    </a:lnTo>
                    <a:lnTo>
                      <a:pt x="18" y="274"/>
                    </a:lnTo>
                    <a:lnTo>
                      <a:pt x="18" y="274"/>
                    </a:lnTo>
                    <a:lnTo>
                      <a:pt x="20" y="300"/>
                    </a:lnTo>
                    <a:lnTo>
                      <a:pt x="22" y="326"/>
                    </a:lnTo>
                    <a:lnTo>
                      <a:pt x="24" y="350"/>
                    </a:lnTo>
                    <a:lnTo>
                      <a:pt x="28" y="374"/>
                    </a:lnTo>
                    <a:lnTo>
                      <a:pt x="34" y="396"/>
                    </a:lnTo>
                    <a:lnTo>
                      <a:pt x="40" y="416"/>
                    </a:lnTo>
                    <a:lnTo>
                      <a:pt x="46" y="436"/>
                    </a:lnTo>
                    <a:lnTo>
                      <a:pt x="54" y="454"/>
                    </a:lnTo>
                    <a:lnTo>
                      <a:pt x="62" y="472"/>
                    </a:lnTo>
                    <a:lnTo>
                      <a:pt x="72" y="486"/>
                    </a:lnTo>
                    <a:lnTo>
                      <a:pt x="82" y="500"/>
                    </a:lnTo>
                    <a:lnTo>
                      <a:pt x="92" y="510"/>
                    </a:lnTo>
                    <a:lnTo>
                      <a:pt x="102" y="518"/>
                    </a:lnTo>
                    <a:lnTo>
                      <a:pt x="114" y="526"/>
                    </a:lnTo>
                    <a:lnTo>
                      <a:pt x="126" y="530"/>
                    </a:lnTo>
                    <a:lnTo>
                      <a:pt x="138" y="530"/>
                    </a:lnTo>
                    <a:lnTo>
                      <a:pt x="138" y="530"/>
                    </a:lnTo>
                    <a:lnTo>
                      <a:pt x="150" y="530"/>
                    </a:lnTo>
                    <a:lnTo>
                      <a:pt x="162" y="526"/>
                    </a:lnTo>
                    <a:lnTo>
                      <a:pt x="174" y="518"/>
                    </a:lnTo>
                    <a:lnTo>
                      <a:pt x="184" y="510"/>
                    </a:lnTo>
                    <a:lnTo>
                      <a:pt x="194" y="500"/>
                    </a:lnTo>
                    <a:lnTo>
                      <a:pt x="204" y="486"/>
                    </a:lnTo>
                    <a:lnTo>
                      <a:pt x="214" y="472"/>
                    </a:lnTo>
                    <a:lnTo>
                      <a:pt x="222" y="454"/>
                    </a:lnTo>
                    <a:lnTo>
                      <a:pt x="230" y="436"/>
                    </a:lnTo>
                    <a:lnTo>
                      <a:pt x="236" y="416"/>
                    </a:lnTo>
                    <a:lnTo>
                      <a:pt x="242" y="396"/>
                    </a:lnTo>
                    <a:lnTo>
                      <a:pt x="248" y="374"/>
                    </a:lnTo>
                    <a:lnTo>
                      <a:pt x="252" y="350"/>
                    </a:lnTo>
                    <a:lnTo>
                      <a:pt x="254" y="326"/>
                    </a:lnTo>
                    <a:lnTo>
                      <a:pt x="256" y="300"/>
                    </a:lnTo>
                    <a:lnTo>
                      <a:pt x="258" y="274"/>
                    </a:lnTo>
                    <a:lnTo>
                      <a:pt x="258" y="274"/>
                    </a:lnTo>
                    <a:lnTo>
                      <a:pt x="256" y="248"/>
                    </a:lnTo>
                    <a:lnTo>
                      <a:pt x="254" y="224"/>
                    </a:lnTo>
                    <a:lnTo>
                      <a:pt x="252" y="200"/>
                    </a:lnTo>
                    <a:lnTo>
                      <a:pt x="248" y="176"/>
                    </a:lnTo>
                    <a:lnTo>
                      <a:pt x="242" y="154"/>
                    </a:lnTo>
                    <a:lnTo>
                      <a:pt x="236" y="132"/>
                    </a:lnTo>
                    <a:lnTo>
                      <a:pt x="230" y="112"/>
                    </a:lnTo>
                    <a:lnTo>
                      <a:pt x="222" y="94"/>
                    </a:lnTo>
                    <a:lnTo>
                      <a:pt x="214" y="78"/>
                    </a:lnTo>
                    <a:lnTo>
                      <a:pt x="204" y="62"/>
                    </a:lnTo>
                    <a:lnTo>
                      <a:pt x="194" y="50"/>
                    </a:lnTo>
                    <a:lnTo>
                      <a:pt x="184" y="38"/>
                    </a:lnTo>
                    <a:lnTo>
                      <a:pt x="174" y="30"/>
                    </a:lnTo>
                    <a:lnTo>
                      <a:pt x="162" y="24"/>
                    </a:lnTo>
                    <a:lnTo>
                      <a:pt x="150" y="20"/>
                    </a:lnTo>
                    <a:lnTo>
                      <a:pt x="138" y="18"/>
                    </a:lnTo>
                    <a:lnTo>
                      <a:pt x="138"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Rectangle 37">
                <a:extLst>
                  <a:ext uri="{FF2B5EF4-FFF2-40B4-BE49-F238E27FC236}">
                    <a16:creationId xmlns:a16="http://schemas.microsoft.com/office/drawing/2014/main" id="{78BAE1E2-B278-4486-8D51-AF1BBFC74C16}"/>
                  </a:ext>
                </a:extLst>
              </p:cNvPr>
              <p:cNvSpPr>
                <a:spLocks noChangeArrowheads="1"/>
              </p:cNvSpPr>
              <p:nvPr/>
            </p:nvSpPr>
            <p:spPr bwMode="auto">
              <a:xfrm>
                <a:off x="6757239" y="4505960"/>
                <a:ext cx="28575" cy="387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Rectangle 38">
                <a:extLst>
                  <a:ext uri="{FF2B5EF4-FFF2-40B4-BE49-F238E27FC236}">
                    <a16:creationId xmlns:a16="http://schemas.microsoft.com/office/drawing/2014/main" id="{22938999-E464-43D0-920C-43C97C1F9996}"/>
                  </a:ext>
                </a:extLst>
              </p:cNvPr>
              <p:cNvSpPr>
                <a:spLocks noChangeArrowheads="1"/>
              </p:cNvSpPr>
              <p:nvPr/>
            </p:nvSpPr>
            <p:spPr bwMode="auto">
              <a:xfrm>
                <a:off x="6757239" y="4023360"/>
                <a:ext cx="28575" cy="387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Rectangle 39">
                <a:extLst>
                  <a:ext uri="{FF2B5EF4-FFF2-40B4-BE49-F238E27FC236}">
                    <a16:creationId xmlns:a16="http://schemas.microsoft.com/office/drawing/2014/main" id="{CF681B27-6582-412E-9F2A-CC56F00C0B3A}"/>
                  </a:ext>
                </a:extLst>
              </p:cNvPr>
              <p:cNvSpPr>
                <a:spLocks noChangeArrowheads="1"/>
              </p:cNvSpPr>
              <p:nvPr/>
            </p:nvSpPr>
            <p:spPr bwMode="auto">
              <a:xfrm>
                <a:off x="6373064" y="4305935"/>
                <a:ext cx="796925"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Rectangle 40">
                <a:extLst>
                  <a:ext uri="{FF2B5EF4-FFF2-40B4-BE49-F238E27FC236}">
                    <a16:creationId xmlns:a16="http://schemas.microsoft.com/office/drawing/2014/main" id="{A17B31A6-E5C1-4A47-A9BD-20C750927BE2}"/>
                  </a:ext>
                </a:extLst>
              </p:cNvPr>
              <p:cNvSpPr>
                <a:spLocks noChangeArrowheads="1"/>
              </p:cNvSpPr>
              <p:nvPr/>
            </p:nvSpPr>
            <p:spPr bwMode="auto">
              <a:xfrm>
                <a:off x="6373064" y="4585335"/>
                <a:ext cx="796925"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41">
                <a:extLst>
                  <a:ext uri="{FF2B5EF4-FFF2-40B4-BE49-F238E27FC236}">
                    <a16:creationId xmlns:a16="http://schemas.microsoft.com/office/drawing/2014/main" id="{7364B90D-22C3-4EE2-9BB1-AFD258690E70}"/>
                  </a:ext>
                </a:extLst>
              </p:cNvPr>
              <p:cNvSpPr>
                <a:spLocks noEditPoints="1"/>
              </p:cNvSpPr>
              <p:nvPr/>
            </p:nvSpPr>
            <p:spPr bwMode="auto">
              <a:xfrm>
                <a:off x="6217489" y="3902710"/>
                <a:ext cx="1111250" cy="1111250"/>
              </a:xfrm>
              <a:custGeom>
                <a:avLst/>
                <a:gdLst>
                  <a:gd name="T0" fmla="*/ 300 w 700"/>
                  <a:gd name="T1" fmla="*/ 698 h 700"/>
                  <a:gd name="T2" fmla="*/ 204 w 700"/>
                  <a:gd name="T3" fmla="*/ 668 h 700"/>
                  <a:gd name="T4" fmla="*/ 120 w 700"/>
                  <a:gd name="T5" fmla="*/ 614 h 700"/>
                  <a:gd name="T6" fmla="*/ 56 w 700"/>
                  <a:gd name="T7" fmla="*/ 540 h 700"/>
                  <a:gd name="T8" fmla="*/ 36 w 700"/>
                  <a:gd name="T9" fmla="*/ 482 h 700"/>
                  <a:gd name="T10" fmla="*/ 50 w 700"/>
                  <a:gd name="T11" fmla="*/ 466 h 700"/>
                  <a:gd name="T12" fmla="*/ 44 w 700"/>
                  <a:gd name="T13" fmla="*/ 442 h 700"/>
                  <a:gd name="T14" fmla="*/ 20 w 700"/>
                  <a:gd name="T15" fmla="*/ 436 h 700"/>
                  <a:gd name="T16" fmla="*/ 2 w 700"/>
                  <a:gd name="T17" fmla="*/ 390 h 700"/>
                  <a:gd name="T18" fmla="*/ 6 w 700"/>
                  <a:gd name="T19" fmla="*/ 280 h 700"/>
                  <a:gd name="T20" fmla="*/ 60 w 700"/>
                  <a:gd name="T21" fmla="*/ 154 h 700"/>
                  <a:gd name="T22" fmla="*/ 154 w 700"/>
                  <a:gd name="T23" fmla="*/ 60 h 700"/>
                  <a:gd name="T24" fmla="*/ 280 w 700"/>
                  <a:gd name="T25" fmla="*/ 8 h 700"/>
                  <a:gd name="T26" fmla="*/ 372 w 700"/>
                  <a:gd name="T27" fmla="*/ 0 h 700"/>
                  <a:gd name="T28" fmla="*/ 456 w 700"/>
                  <a:gd name="T29" fmla="*/ 16 h 700"/>
                  <a:gd name="T30" fmla="*/ 522 w 700"/>
                  <a:gd name="T31" fmla="*/ 46 h 700"/>
                  <a:gd name="T32" fmla="*/ 512 w 700"/>
                  <a:gd name="T33" fmla="*/ 72 h 700"/>
                  <a:gd name="T34" fmla="*/ 518 w 700"/>
                  <a:gd name="T35" fmla="*/ 92 h 700"/>
                  <a:gd name="T36" fmla="*/ 540 w 700"/>
                  <a:gd name="T37" fmla="*/ 106 h 700"/>
                  <a:gd name="T38" fmla="*/ 562 w 700"/>
                  <a:gd name="T39" fmla="*/ 104 h 700"/>
                  <a:gd name="T40" fmla="*/ 588 w 700"/>
                  <a:gd name="T41" fmla="*/ 94 h 700"/>
                  <a:gd name="T42" fmla="*/ 654 w 700"/>
                  <a:gd name="T43" fmla="*/ 178 h 700"/>
                  <a:gd name="T44" fmla="*/ 698 w 700"/>
                  <a:gd name="T45" fmla="*/ 314 h 700"/>
                  <a:gd name="T46" fmla="*/ 694 w 700"/>
                  <a:gd name="T47" fmla="*/ 420 h 700"/>
                  <a:gd name="T48" fmla="*/ 640 w 700"/>
                  <a:gd name="T49" fmla="*/ 546 h 700"/>
                  <a:gd name="T50" fmla="*/ 584 w 700"/>
                  <a:gd name="T51" fmla="*/ 600 h 700"/>
                  <a:gd name="T52" fmla="*/ 564 w 700"/>
                  <a:gd name="T53" fmla="*/ 590 h 700"/>
                  <a:gd name="T54" fmla="*/ 540 w 700"/>
                  <a:gd name="T55" fmla="*/ 616 h 700"/>
                  <a:gd name="T56" fmla="*/ 550 w 700"/>
                  <a:gd name="T57" fmla="*/ 638 h 700"/>
                  <a:gd name="T58" fmla="*/ 498 w 700"/>
                  <a:gd name="T59" fmla="*/ 668 h 700"/>
                  <a:gd name="T60" fmla="*/ 400 w 700"/>
                  <a:gd name="T61" fmla="*/ 698 h 700"/>
                  <a:gd name="T62" fmla="*/ 50 w 700"/>
                  <a:gd name="T63" fmla="*/ 494 h 700"/>
                  <a:gd name="T64" fmla="*/ 88 w 700"/>
                  <a:gd name="T65" fmla="*/ 554 h 700"/>
                  <a:gd name="T66" fmla="*/ 154 w 700"/>
                  <a:gd name="T67" fmla="*/ 618 h 700"/>
                  <a:gd name="T68" fmla="*/ 236 w 700"/>
                  <a:gd name="T69" fmla="*/ 662 h 700"/>
                  <a:gd name="T70" fmla="*/ 326 w 700"/>
                  <a:gd name="T71" fmla="*/ 682 h 700"/>
                  <a:gd name="T72" fmla="*/ 396 w 700"/>
                  <a:gd name="T73" fmla="*/ 680 h 700"/>
                  <a:gd name="T74" fmla="*/ 484 w 700"/>
                  <a:gd name="T75" fmla="*/ 654 h 700"/>
                  <a:gd name="T76" fmla="*/ 522 w 700"/>
                  <a:gd name="T77" fmla="*/ 624 h 700"/>
                  <a:gd name="T78" fmla="*/ 526 w 700"/>
                  <a:gd name="T79" fmla="*/ 600 h 700"/>
                  <a:gd name="T80" fmla="*/ 548 w 700"/>
                  <a:gd name="T81" fmla="*/ 576 h 700"/>
                  <a:gd name="T82" fmla="*/ 578 w 700"/>
                  <a:gd name="T83" fmla="*/ 574 h 700"/>
                  <a:gd name="T84" fmla="*/ 630 w 700"/>
                  <a:gd name="T85" fmla="*/ 530 h 700"/>
                  <a:gd name="T86" fmla="*/ 676 w 700"/>
                  <a:gd name="T87" fmla="*/ 414 h 700"/>
                  <a:gd name="T88" fmla="*/ 680 w 700"/>
                  <a:gd name="T89" fmla="*/ 318 h 700"/>
                  <a:gd name="T90" fmla="*/ 642 w 700"/>
                  <a:gd name="T91" fmla="*/ 192 h 700"/>
                  <a:gd name="T92" fmla="*/ 582 w 700"/>
                  <a:gd name="T93" fmla="*/ 112 h 700"/>
                  <a:gd name="T94" fmla="*/ 548 w 700"/>
                  <a:gd name="T95" fmla="*/ 126 h 700"/>
                  <a:gd name="T96" fmla="*/ 518 w 700"/>
                  <a:gd name="T97" fmla="*/ 116 h 700"/>
                  <a:gd name="T98" fmla="*/ 496 w 700"/>
                  <a:gd name="T99" fmla="*/ 82 h 700"/>
                  <a:gd name="T100" fmla="*/ 498 w 700"/>
                  <a:gd name="T101" fmla="*/ 54 h 700"/>
                  <a:gd name="T102" fmla="*/ 388 w 700"/>
                  <a:gd name="T103" fmla="*/ 20 h 700"/>
                  <a:gd name="T104" fmla="*/ 284 w 700"/>
                  <a:gd name="T105" fmla="*/ 24 h 700"/>
                  <a:gd name="T106" fmla="*/ 164 w 700"/>
                  <a:gd name="T107" fmla="*/ 76 h 700"/>
                  <a:gd name="T108" fmla="*/ 74 w 700"/>
                  <a:gd name="T109" fmla="*/ 164 h 700"/>
                  <a:gd name="T110" fmla="*/ 24 w 700"/>
                  <a:gd name="T111" fmla="*/ 284 h 700"/>
                  <a:gd name="T112" fmla="*/ 20 w 700"/>
                  <a:gd name="T113" fmla="*/ 384 h 700"/>
                  <a:gd name="T114" fmla="*/ 42 w 700"/>
                  <a:gd name="T115" fmla="*/ 420 h 700"/>
                  <a:gd name="T116" fmla="*/ 66 w 700"/>
                  <a:gd name="T117" fmla="*/ 442 h 700"/>
                  <a:gd name="T118" fmla="*/ 68 w 700"/>
                  <a:gd name="T119" fmla="*/ 470 h 700"/>
                  <a:gd name="T120" fmla="*/ 50 w 700"/>
                  <a:gd name="T121" fmla="*/ 494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0" h="700">
                    <a:moveTo>
                      <a:pt x="350" y="700"/>
                    </a:moveTo>
                    <a:lnTo>
                      <a:pt x="350" y="700"/>
                    </a:lnTo>
                    <a:lnTo>
                      <a:pt x="324" y="700"/>
                    </a:lnTo>
                    <a:lnTo>
                      <a:pt x="300" y="698"/>
                    </a:lnTo>
                    <a:lnTo>
                      <a:pt x="274" y="692"/>
                    </a:lnTo>
                    <a:lnTo>
                      <a:pt x="250" y="686"/>
                    </a:lnTo>
                    <a:lnTo>
                      <a:pt x="226" y="678"/>
                    </a:lnTo>
                    <a:lnTo>
                      <a:pt x="204" y="668"/>
                    </a:lnTo>
                    <a:lnTo>
                      <a:pt x="182" y="658"/>
                    </a:lnTo>
                    <a:lnTo>
                      <a:pt x="160" y="644"/>
                    </a:lnTo>
                    <a:lnTo>
                      <a:pt x="140" y="630"/>
                    </a:lnTo>
                    <a:lnTo>
                      <a:pt x="120" y="614"/>
                    </a:lnTo>
                    <a:lnTo>
                      <a:pt x="102" y="598"/>
                    </a:lnTo>
                    <a:lnTo>
                      <a:pt x="86" y="580"/>
                    </a:lnTo>
                    <a:lnTo>
                      <a:pt x="70" y="560"/>
                    </a:lnTo>
                    <a:lnTo>
                      <a:pt x="56" y="540"/>
                    </a:lnTo>
                    <a:lnTo>
                      <a:pt x="42" y="518"/>
                    </a:lnTo>
                    <a:lnTo>
                      <a:pt x="30" y="494"/>
                    </a:lnTo>
                    <a:lnTo>
                      <a:pt x="28" y="486"/>
                    </a:lnTo>
                    <a:lnTo>
                      <a:pt x="36" y="482"/>
                    </a:lnTo>
                    <a:lnTo>
                      <a:pt x="36" y="482"/>
                    </a:lnTo>
                    <a:lnTo>
                      <a:pt x="42" y="478"/>
                    </a:lnTo>
                    <a:lnTo>
                      <a:pt x="48" y="474"/>
                    </a:lnTo>
                    <a:lnTo>
                      <a:pt x="50" y="466"/>
                    </a:lnTo>
                    <a:lnTo>
                      <a:pt x="52" y="460"/>
                    </a:lnTo>
                    <a:lnTo>
                      <a:pt x="52" y="460"/>
                    </a:lnTo>
                    <a:lnTo>
                      <a:pt x="50" y="450"/>
                    </a:lnTo>
                    <a:lnTo>
                      <a:pt x="44" y="442"/>
                    </a:lnTo>
                    <a:lnTo>
                      <a:pt x="36" y="436"/>
                    </a:lnTo>
                    <a:lnTo>
                      <a:pt x="26" y="434"/>
                    </a:lnTo>
                    <a:lnTo>
                      <a:pt x="26" y="434"/>
                    </a:lnTo>
                    <a:lnTo>
                      <a:pt x="20" y="436"/>
                    </a:lnTo>
                    <a:lnTo>
                      <a:pt x="10" y="438"/>
                    </a:lnTo>
                    <a:lnTo>
                      <a:pt x="8" y="428"/>
                    </a:lnTo>
                    <a:lnTo>
                      <a:pt x="8" y="428"/>
                    </a:lnTo>
                    <a:lnTo>
                      <a:pt x="2" y="390"/>
                    </a:lnTo>
                    <a:lnTo>
                      <a:pt x="0" y="350"/>
                    </a:lnTo>
                    <a:lnTo>
                      <a:pt x="0" y="350"/>
                    </a:lnTo>
                    <a:lnTo>
                      <a:pt x="2" y="314"/>
                    </a:lnTo>
                    <a:lnTo>
                      <a:pt x="6" y="280"/>
                    </a:lnTo>
                    <a:lnTo>
                      <a:pt x="16" y="246"/>
                    </a:lnTo>
                    <a:lnTo>
                      <a:pt x="28" y="214"/>
                    </a:lnTo>
                    <a:lnTo>
                      <a:pt x="42" y="184"/>
                    </a:lnTo>
                    <a:lnTo>
                      <a:pt x="60" y="154"/>
                    </a:lnTo>
                    <a:lnTo>
                      <a:pt x="80" y="128"/>
                    </a:lnTo>
                    <a:lnTo>
                      <a:pt x="102" y="102"/>
                    </a:lnTo>
                    <a:lnTo>
                      <a:pt x="128" y="80"/>
                    </a:lnTo>
                    <a:lnTo>
                      <a:pt x="154" y="60"/>
                    </a:lnTo>
                    <a:lnTo>
                      <a:pt x="184" y="42"/>
                    </a:lnTo>
                    <a:lnTo>
                      <a:pt x="214" y="28"/>
                    </a:lnTo>
                    <a:lnTo>
                      <a:pt x="246" y="16"/>
                    </a:lnTo>
                    <a:lnTo>
                      <a:pt x="280" y="8"/>
                    </a:lnTo>
                    <a:lnTo>
                      <a:pt x="314" y="2"/>
                    </a:lnTo>
                    <a:lnTo>
                      <a:pt x="350" y="0"/>
                    </a:lnTo>
                    <a:lnTo>
                      <a:pt x="350" y="0"/>
                    </a:lnTo>
                    <a:lnTo>
                      <a:pt x="372" y="0"/>
                    </a:lnTo>
                    <a:lnTo>
                      <a:pt x="392" y="2"/>
                    </a:lnTo>
                    <a:lnTo>
                      <a:pt x="414" y="6"/>
                    </a:lnTo>
                    <a:lnTo>
                      <a:pt x="434" y="10"/>
                    </a:lnTo>
                    <a:lnTo>
                      <a:pt x="456" y="16"/>
                    </a:lnTo>
                    <a:lnTo>
                      <a:pt x="476" y="24"/>
                    </a:lnTo>
                    <a:lnTo>
                      <a:pt x="496" y="32"/>
                    </a:lnTo>
                    <a:lnTo>
                      <a:pt x="514" y="42"/>
                    </a:lnTo>
                    <a:lnTo>
                      <a:pt x="522" y="46"/>
                    </a:lnTo>
                    <a:lnTo>
                      <a:pt x="518" y="54"/>
                    </a:lnTo>
                    <a:lnTo>
                      <a:pt x="518" y="54"/>
                    </a:lnTo>
                    <a:lnTo>
                      <a:pt x="514" y="62"/>
                    </a:lnTo>
                    <a:lnTo>
                      <a:pt x="512" y="72"/>
                    </a:lnTo>
                    <a:lnTo>
                      <a:pt x="512" y="72"/>
                    </a:lnTo>
                    <a:lnTo>
                      <a:pt x="514" y="80"/>
                    </a:lnTo>
                    <a:lnTo>
                      <a:pt x="516" y="86"/>
                    </a:lnTo>
                    <a:lnTo>
                      <a:pt x="518" y="92"/>
                    </a:lnTo>
                    <a:lnTo>
                      <a:pt x="522" y="96"/>
                    </a:lnTo>
                    <a:lnTo>
                      <a:pt x="528" y="102"/>
                    </a:lnTo>
                    <a:lnTo>
                      <a:pt x="534" y="104"/>
                    </a:lnTo>
                    <a:lnTo>
                      <a:pt x="540" y="106"/>
                    </a:lnTo>
                    <a:lnTo>
                      <a:pt x="548" y="108"/>
                    </a:lnTo>
                    <a:lnTo>
                      <a:pt x="548" y="108"/>
                    </a:lnTo>
                    <a:lnTo>
                      <a:pt x="556" y="106"/>
                    </a:lnTo>
                    <a:lnTo>
                      <a:pt x="562" y="104"/>
                    </a:lnTo>
                    <a:lnTo>
                      <a:pt x="568" y="100"/>
                    </a:lnTo>
                    <a:lnTo>
                      <a:pt x="574" y="94"/>
                    </a:lnTo>
                    <a:lnTo>
                      <a:pt x="580" y="88"/>
                    </a:lnTo>
                    <a:lnTo>
                      <a:pt x="588" y="94"/>
                    </a:lnTo>
                    <a:lnTo>
                      <a:pt x="588" y="94"/>
                    </a:lnTo>
                    <a:lnTo>
                      <a:pt x="612" y="120"/>
                    </a:lnTo>
                    <a:lnTo>
                      <a:pt x="636" y="148"/>
                    </a:lnTo>
                    <a:lnTo>
                      <a:pt x="654" y="178"/>
                    </a:lnTo>
                    <a:lnTo>
                      <a:pt x="670" y="210"/>
                    </a:lnTo>
                    <a:lnTo>
                      <a:pt x="684" y="244"/>
                    </a:lnTo>
                    <a:lnTo>
                      <a:pt x="692" y="278"/>
                    </a:lnTo>
                    <a:lnTo>
                      <a:pt x="698" y="314"/>
                    </a:lnTo>
                    <a:lnTo>
                      <a:pt x="700" y="350"/>
                    </a:lnTo>
                    <a:lnTo>
                      <a:pt x="700" y="350"/>
                    </a:lnTo>
                    <a:lnTo>
                      <a:pt x="698" y="386"/>
                    </a:lnTo>
                    <a:lnTo>
                      <a:pt x="694" y="420"/>
                    </a:lnTo>
                    <a:lnTo>
                      <a:pt x="686" y="454"/>
                    </a:lnTo>
                    <a:lnTo>
                      <a:pt x="674" y="486"/>
                    </a:lnTo>
                    <a:lnTo>
                      <a:pt x="658" y="516"/>
                    </a:lnTo>
                    <a:lnTo>
                      <a:pt x="640" y="546"/>
                    </a:lnTo>
                    <a:lnTo>
                      <a:pt x="620" y="574"/>
                    </a:lnTo>
                    <a:lnTo>
                      <a:pt x="596" y="600"/>
                    </a:lnTo>
                    <a:lnTo>
                      <a:pt x="590" y="606"/>
                    </a:lnTo>
                    <a:lnTo>
                      <a:pt x="584" y="600"/>
                    </a:lnTo>
                    <a:lnTo>
                      <a:pt x="584" y="600"/>
                    </a:lnTo>
                    <a:lnTo>
                      <a:pt x="574" y="594"/>
                    </a:lnTo>
                    <a:lnTo>
                      <a:pt x="564" y="590"/>
                    </a:lnTo>
                    <a:lnTo>
                      <a:pt x="564" y="590"/>
                    </a:lnTo>
                    <a:lnTo>
                      <a:pt x="556" y="592"/>
                    </a:lnTo>
                    <a:lnTo>
                      <a:pt x="548" y="598"/>
                    </a:lnTo>
                    <a:lnTo>
                      <a:pt x="542" y="606"/>
                    </a:lnTo>
                    <a:lnTo>
                      <a:pt x="540" y="616"/>
                    </a:lnTo>
                    <a:lnTo>
                      <a:pt x="540" y="616"/>
                    </a:lnTo>
                    <a:lnTo>
                      <a:pt x="542" y="624"/>
                    </a:lnTo>
                    <a:lnTo>
                      <a:pt x="544" y="630"/>
                    </a:lnTo>
                    <a:lnTo>
                      <a:pt x="550" y="638"/>
                    </a:lnTo>
                    <a:lnTo>
                      <a:pt x="542" y="644"/>
                    </a:lnTo>
                    <a:lnTo>
                      <a:pt x="542" y="644"/>
                    </a:lnTo>
                    <a:lnTo>
                      <a:pt x="520" y="656"/>
                    </a:lnTo>
                    <a:lnTo>
                      <a:pt x="498" y="668"/>
                    </a:lnTo>
                    <a:lnTo>
                      <a:pt x="474" y="678"/>
                    </a:lnTo>
                    <a:lnTo>
                      <a:pt x="450" y="686"/>
                    </a:lnTo>
                    <a:lnTo>
                      <a:pt x="426" y="692"/>
                    </a:lnTo>
                    <a:lnTo>
                      <a:pt x="400" y="698"/>
                    </a:lnTo>
                    <a:lnTo>
                      <a:pt x="376" y="700"/>
                    </a:lnTo>
                    <a:lnTo>
                      <a:pt x="350" y="700"/>
                    </a:lnTo>
                    <a:lnTo>
                      <a:pt x="350" y="700"/>
                    </a:lnTo>
                    <a:close/>
                    <a:moveTo>
                      <a:pt x="50" y="494"/>
                    </a:moveTo>
                    <a:lnTo>
                      <a:pt x="50" y="494"/>
                    </a:lnTo>
                    <a:lnTo>
                      <a:pt x="62" y="516"/>
                    </a:lnTo>
                    <a:lnTo>
                      <a:pt x="74" y="536"/>
                    </a:lnTo>
                    <a:lnTo>
                      <a:pt x="88" y="554"/>
                    </a:lnTo>
                    <a:lnTo>
                      <a:pt x="104" y="572"/>
                    </a:lnTo>
                    <a:lnTo>
                      <a:pt x="120" y="590"/>
                    </a:lnTo>
                    <a:lnTo>
                      <a:pt x="136" y="604"/>
                    </a:lnTo>
                    <a:lnTo>
                      <a:pt x="154" y="618"/>
                    </a:lnTo>
                    <a:lnTo>
                      <a:pt x="174" y="632"/>
                    </a:lnTo>
                    <a:lnTo>
                      <a:pt x="194" y="644"/>
                    </a:lnTo>
                    <a:lnTo>
                      <a:pt x="214" y="654"/>
                    </a:lnTo>
                    <a:lnTo>
                      <a:pt x="236" y="662"/>
                    </a:lnTo>
                    <a:lnTo>
                      <a:pt x="258" y="670"/>
                    </a:lnTo>
                    <a:lnTo>
                      <a:pt x="280" y="676"/>
                    </a:lnTo>
                    <a:lnTo>
                      <a:pt x="302" y="680"/>
                    </a:lnTo>
                    <a:lnTo>
                      <a:pt x="326" y="682"/>
                    </a:lnTo>
                    <a:lnTo>
                      <a:pt x="350" y="682"/>
                    </a:lnTo>
                    <a:lnTo>
                      <a:pt x="350" y="682"/>
                    </a:lnTo>
                    <a:lnTo>
                      <a:pt x="374" y="682"/>
                    </a:lnTo>
                    <a:lnTo>
                      <a:pt x="396" y="680"/>
                    </a:lnTo>
                    <a:lnTo>
                      <a:pt x="418" y="676"/>
                    </a:lnTo>
                    <a:lnTo>
                      <a:pt x="442" y="670"/>
                    </a:lnTo>
                    <a:lnTo>
                      <a:pt x="464" y="662"/>
                    </a:lnTo>
                    <a:lnTo>
                      <a:pt x="484" y="654"/>
                    </a:lnTo>
                    <a:lnTo>
                      <a:pt x="506" y="644"/>
                    </a:lnTo>
                    <a:lnTo>
                      <a:pt x="526" y="632"/>
                    </a:lnTo>
                    <a:lnTo>
                      <a:pt x="526" y="632"/>
                    </a:lnTo>
                    <a:lnTo>
                      <a:pt x="522" y="624"/>
                    </a:lnTo>
                    <a:lnTo>
                      <a:pt x="522" y="616"/>
                    </a:lnTo>
                    <a:lnTo>
                      <a:pt x="522" y="616"/>
                    </a:lnTo>
                    <a:lnTo>
                      <a:pt x="522" y="608"/>
                    </a:lnTo>
                    <a:lnTo>
                      <a:pt x="526" y="600"/>
                    </a:lnTo>
                    <a:lnTo>
                      <a:pt x="530" y="592"/>
                    </a:lnTo>
                    <a:lnTo>
                      <a:pt x="534" y="586"/>
                    </a:lnTo>
                    <a:lnTo>
                      <a:pt x="540" y="580"/>
                    </a:lnTo>
                    <a:lnTo>
                      <a:pt x="548" y="576"/>
                    </a:lnTo>
                    <a:lnTo>
                      <a:pt x="556" y="574"/>
                    </a:lnTo>
                    <a:lnTo>
                      <a:pt x="564" y="572"/>
                    </a:lnTo>
                    <a:lnTo>
                      <a:pt x="564" y="572"/>
                    </a:lnTo>
                    <a:lnTo>
                      <a:pt x="578" y="574"/>
                    </a:lnTo>
                    <a:lnTo>
                      <a:pt x="590" y="580"/>
                    </a:lnTo>
                    <a:lnTo>
                      <a:pt x="590" y="580"/>
                    </a:lnTo>
                    <a:lnTo>
                      <a:pt x="610" y="556"/>
                    </a:lnTo>
                    <a:lnTo>
                      <a:pt x="630" y="530"/>
                    </a:lnTo>
                    <a:lnTo>
                      <a:pt x="646" y="504"/>
                    </a:lnTo>
                    <a:lnTo>
                      <a:pt x="658" y="474"/>
                    </a:lnTo>
                    <a:lnTo>
                      <a:pt x="668" y="446"/>
                    </a:lnTo>
                    <a:lnTo>
                      <a:pt x="676" y="414"/>
                    </a:lnTo>
                    <a:lnTo>
                      <a:pt x="680" y="382"/>
                    </a:lnTo>
                    <a:lnTo>
                      <a:pt x="682" y="350"/>
                    </a:lnTo>
                    <a:lnTo>
                      <a:pt x="682" y="350"/>
                    </a:lnTo>
                    <a:lnTo>
                      <a:pt x="680" y="318"/>
                    </a:lnTo>
                    <a:lnTo>
                      <a:pt x="676" y="284"/>
                    </a:lnTo>
                    <a:lnTo>
                      <a:pt x="668" y="252"/>
                    </a:lnTo>
                    <a:lnTo>
                      <a:pt x="656" y="222"/>
                    </a:lnTo>
                    <a:lnTo>
                      <a:pt x="642" y="192"/>
                    </a:lnTo>
                    <a:lnTo>
                      <a:pt x="624" y="164"/>
                    </a:lnTo>
                    <a:lnTo>
                      <a:pt x="604" y="138"/>
                    </a:lnTo>
                    <a:lnTo>
                      <a:pt x="582" y="112"/>
                    </a:lnTo>
                    <a:lnTo>
                      <a:pt x="582" y="112"/>
                    </a:lnTo>
                    <a:lnTo>
                      <a:pt x="574" y="118"/>
                    </a:lnTo>
                    <a:lnTo>
                      <a:pt x="566" y="122"/>
                    </a:lnTo>
                    <a:lnTo>
                      <a:pt x="556" y="124"/>
                    </a:lnTo>
                    <a:lnTo>
                      <a:pt x="548" y="126"/>
                    </a:lnTo>
                    <a:lnTo>
                      <a:pt x="548" y="126"/>
                    </a:lnTo>
                    <a:lnTo>
                      <a:pt x="536" y="124"/>
                    </a:lnTo>
                    <a:lnTo>
                      <a:pt x="526" y="122"/>
                    </a:lnTo>
                    <a:lnTo>
                      <a:pt x="518" y="116"/>
                    </a:lnTo>
                    <a:lnTo>
                      <a:pt x="510" y="110"/>
                    </a:lnTo>
                    <a:lnTo>
                      <a:pt x="504" y="102"/>
                    </a:lnTo>
                    <a:lnTo>
                      <a:pt x="498" y="92"/>
                    </a:lnTo>
                    <a:lnTo>
                      <a:pt x="496" y="82"/>
                    </a:lnTo>
                    <a:lnTo>
                      <a:pt x="494" y="72"/>
                    </a:lnTo>
                    <a:lnTo>
                      <a:pt x="494" y="72"/>
                    </a:lnTo>
                    <a:lnTo>
                      <a:pt x="496" y="62"/>
                    </a:lnTo>
                    <a:lnTo>
                      <a:pt x="498" y="54"/>
                    </a:lnTo>
                    <a:lnTo>
                      <a:pt x="498" y="54"/>
                    </a:lnTo>
                    <a:lnTo>
                      <a:pt x="462" y="38"/>
                    </a:lnTo>
                    <a:lnTo>
                      <a:pt x="426" y="28"/>
                    </a:lnTo>
                    <a:lnTo>
                      <a:pt x="388" y="20"/>
                    </a:lnTo>
                    <a:lnTo>
                      <a:pt x="350" y="18"/>
                    </a:lnTo>
                    <a:lnTo>
                      <a:pt x="350" y="18"/>
                    </a:lnTo>
                    <a:lnTo>
                      <a:pt x="316" y="20"/>
                    </a:lnTo>
                    <a:lnTo>
                      <a:pt x="284" y="24"/>
                    </a:lnTo>
                    <a:lnTo>
                      <a:pt x="252" y="34"/>
                    </a:lnTo>
                    <a:lnTo>
                      <a:pt x="220" y="44"/>
                    </a:lnTo>
                    <a:lnTo>
                      <a:pt x="192" y="58"/>
                    </a:lnTo>
                    <a:lnTo>
                      <a:pt x="164" y="76"/>
                    </a:lnTo>
                    <a:lnTo>
                      <a:pt x="138" y="94"/>
                    </a:lnTo>
                    <a:lnTo>
                      <a:pt x="116" y="116"/>
                    </a:lnTo>
                    <a:lnTo>
                      <a:pt x="94" y="140"/>
                    </a:lnTo>
                    <a:lnTo>
                      <a:pt x="74" y="164"/>
                    </a:lnTo>
                    <a:lnTo>
                      <a:pt x="58" y="192"/>
                    </a:lnTo>
                    <a:lnTo>
                      <a:pt x="44" y="222"/>
                    </a:lnTo>
                    <a:lnTo>
                      <a:pt x="32" y="252"/>
                    </a:lnTo>
                    <a:lnTo>
                      <a:pt x="24" y="284"/>
                    </a:lnTo>
                    <a:lnTo>
                      <a:pt x="20" y="316"/>
                    </a:lnTo>
                    <a:lnTo>
                      <a:pt x="18" y="350"/>
                    </a:lnTo>
                    <a:lnTo>
                      <a:pt x="18" y="350"/>
                    </a:lnTo>
                    <a:lnTo>
                      <a:pt x="20" y="384"/>
                    </a:lnTo>
                    <a:lnTo>
                      <a:pt x="24" y="416"/>
                    </a:lnTo>
                    <a:lnTo>
                      <a:pt x="24" y="416"/>
                    </a:lnTo>
                    <a:lnTo>
                      <a:pt x="34" y="418"/>
                    </a:lnTo>
                    <a:lnTo>
                      <a:pt x="42" y="420"/>
                    </a:lnTo>
                    <a:lnTo>
                      <a:pt x="50" y="424"/>
                    </a:lnTo>
                    <a:lnTo>
                      <a:pt x="56" y="428"/>
                    </a:lnTo>
                    <a:lnTo>
                      <a:pt x="62" y="434"/>
                    </a:lnTo>
                    <a:lnTo>
                      <a:pt x="66" y="442"/>
                    </a:lnTo>
                    <a:lnTo>
                      <a:pt x="68" y="450"/>
                    </a:lnTo>
                    <a:lnTo>
                      <a:pt x="70" y="460"/>
                    </a:lnTo>
                    <a:lnTo>
                      <a:pt x="70" y="460"/>
                    </a:lnTo>
                    <a:lnTo>
                      <a:pt x="68" y="470"/>
                    </a:lnTo>
                    <a:lnTo>
                      <a:pt x="64" y="480"/>
                    </a:lnTo>
                    <a:lnTo>
                      <a:pt x="58" y="488"/>
                    </a:lnTo>
                    <a:lnTo>
                      <a:pt x="50" y="494"/>
                    </a:lnTo>
                    <a:lnTo>
                      <a:pt x="50" y="4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42">
                <a:extLst>
                  <a:ext uri="{FF2B5EF4-FFF2-40B4-BE49-F238E27FC236}">
                    <a16:creationId xmlns:a16="http://schemas.microsoft.com/office/drawing/2014/main" id="{9D93725B-C7F4-4EF7-839A-10085C3A26A3}"/>
                  </a:ext>
                </a:extLst>
              </p:cNvPr>
              <p:cNvSpPr>
                <a:spLocks/>
              </p:cNvSpPr>
              <p:nvPr/>
            </p:nvSpPr>
            <p:spPr bwMode="auto">
              <a:xfrm>
                <a:off x="7008064" y="3934460"/>
                <a:ext cx="161925" cy="146050"/>
              </a:xfrm>
              <a:custGeom>
                <a:avLst/>
                <a:gdLst>
                  <a:gd name="T0" fmla="*/ 84 w 102"/>
                  <a:gd name="T1" fmla="*/ 92 h 92"/>
                  <a:gd name="T2" fmla="*/ 70 w 102"/>
                  <a:gd name="T3" fmla="*/ 82 h 92"/>
                  <a:gd name="T4" fmla="*/ 76 w 102"/>
                  <a:gd name="T5" fmla="*/ 74 h 92"/>
                  <a:gd name="T6" fmla="*/ 76 w 102"/>
                  <a:gd name="T7" fmla="*/ 74 h 92"/>
                  <a:gd name="T8" fmla="*/ 82 w 102"/>
                  <a:gd name="T9" fmla="*/ 64 h 92"/>
                  <a:gd name="T10" fmla="*/ 84 w 102"/>
                  <a:gd name="T11" fmla="*/ 52 h 92"/>
                  <a:gd name="T12" fmla="*/ 84 w 102"/>
                  <a:gd name="T13" fmla="*/ 52 h 92"/>
                  <a:gd name="T14" fmla="*/ 84 w 102"/>
                  <a:gd name="T15" fmla="*/ 46 h 92"/>
                  <a:gd name="T16" fmla="*/ 82 w 102"/>
                  <a:gd name="T17" fmla="*/ 38 h 92"/>
                  <a:gd name="T18" fmla="*/ 78 w 102"/>
                  <a:gd name="T19" fmla="*/ 32 h 92"/>
                  <a:gd name="T20" fmla="*/ 74 w 102"/>
                  <a:gd name="T21" fmla="*/ 28 h 92"/>
                  <a:gd name="T22" fmla="*/ 70 w 102"/>
                  <a:gd name="T23" fmla="*/ 24 h 92"/>
                  <a:gd name="T24" fmla="*/ 64 w 102"/>
                  <a:gd name="T25" fmla="*/ 20 h 92"/>
                  <a:gd name="T26" fmla="*/ 56 w 102"/>
                  <a:gd name="T27" fmla="*/ 18 h 92"/>
                  <a:gd name="T28" fmla="*/ 50 w 102"/>
                  <a:gd name="T29" fmla="*/ 18 h 92"/>
                  <a:gd name="T30" fmla="*/ 50 w 102"/>
                  <a:gd name="T31" fmla="*/ 18 h 92"/>
                  <a:gd name="T32" fmla="*/ 40 w 102"/>
                  <a:gd name="T33" fmla="*/ 18 h 92"/>
                  <a:gd name="T34" fmla="*/ 32 w 102"/>
                  <a:gd name="T35" fmla="*/ 22 h 92"/>
                  <a:gd name="T36" fmla="*/ 26 w 102"/>
                  <a:gd name="T37" fmla="*/ 26 h 92"/>
                  <a:gd name="T38" fmla="*/ 20 w 102"/>
                  <a:gd name="T39" fmla="*/ 34 h 92"/>
                  <a:gd name="T40" fmla="*/ 16 w 102"/>
                  <a:gd name="T41" fmla="*/ 42 h 92"/>
                  <a:gd name="T42" fmla="*/ 0 w 102"/>
                  <a:gd name="T43" fmla="*/ 32 h 92"/>
                  <a:gd name="T44" fmla="*/ 4 w 102"/>
                  <a:gd name="T45" fmla="*/ 24 h 92"/>
                  <a:gd name="T46" fmla="*/ 4 w 102"/>
                  <a:gd name="T47" fmla="*/ 24 h 92"/>
                  <a:gd name="T48" fmla="*/ 14 w 102"/>
                  <a:gd name="T49" fmla="*/ 14 h 92"/>
                  <a:gd name="T50" fmla="*/ 24 w 102"/>
                  <a:gd name="T51" fmla="*/ 6 h 92"/>
                  <a:gd name="T52" fmla="*/ 36 w 102"/>
                  <a:gd name="T53" fmla="*/ 0 h 92"/>
                  <a:gd name="T54" fmla="*/ 50 w 102"/>
                  <a:gd name="T55" fmla="*/ 0 h 92"/>
                  <a:gd name="T56" fmla="*/ 50 w 102"/>
                  <a:gd name="T57" fmla="*/ 0 h 92"/>
                  <a:gd name="T58" fmla="*/ 60 w 102"/>
                  <a:gd name="T59" fmla="*/ 0 h 92"/>
                  <a:gd name="T60" fmla="*/ 70 w 102"/>
                  <a:gd name="T61" fmla="*/ 4 h 92"/>
                  <a:gd name="T62" fmla="*/ 80 w 102"/>
                  <a:gd name="T63" fmla="*/ 8 h 92"/>
                  <a:gd name="T64" fmla="*/ 88 w 102"/>
                  <a:gd name="T65" fmla="*/ 14 h 92"/>
                  <a:gd name="T66" fmla="*/ 94 w 102"/>
                  <a:gd name="T67" fmla="*/ 22 h 92"/>
                  <a:gd name="T68" fmla="*/ 98 w 102"/>
                  <a:gd name="T69" fmla="*/ 32 h 92"/>
                  <a:gd name="T70" fmla="*/ 102 w 102"/>
                  <a:gd name="T71" fmla="*/ 42 h 92"/>
                  <a:gd name="T72" fmla="*/ 102 w 102"/>
                  <a:gd name="T73" fmla="*/ 52 h 92"/>
                  <a:gd name="T74" fmla="*/ 102 w 102"/>
                  <a:gd name="T75" fmla="*/ 52 h 92"/>
                  <a:gd name="T76" fmla="*/ 102 w 102"/>
                  <a:gd name="T77" fmla="*/ 62 h 92"/>
                  <a:gd name="T78" fmla="*/ 100 w 102"/>
                  <a:gd name="T79" fmla="*/ 70 h 92"/>
                  <a:gd name="T80" fmla="*/ 96 w 102"/>
                  <a:gd name="T81" fmla="*/ 78 h 92"/>
                  <a:gd name="T82" fmla="*/ 90 w 102"/>
                  <a:gd name="T83" fmla="*/ 86 h 92"/>
                  <a:gd name="T84" fmla="*/ 84 w 102"/>
                  <a:gd name="T8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92">
                    <a:moveTo>
                      <a:pt x="84" y="92"/>
                    </a:moveTo>
                    <a:lnTo>
                      <a:pt x="70" y="82"/>
                    </a:lnTo>
                    <a:lnTo>
                      <a:pt x="76" y="74"/>
                    </a:lnTo>
                    <a:lnTo>
                      <a:pt x="76" y="74"/>
                    </a:lnTo>
                    <a:lnTo>
                      <a:pt x="82" y="64"/>
                    </a:lnTo>
                    <a:lnTo>
                      <a:pt x="84" y="52"/>
                    </a:lnTo>
                    <a:lnTo>
                      <a:pt x="84" y="52"/>
                    </a:lnTo>
                    <a:lnTo>
                      <a:pt x="84" y="46"/>
                    </a:lnTo>
                    <a:lnTo>
                      <a:pt x="82" y="38"/>
                    </a:lnTo>
                    <a:lnTo>
                      <a:pt x="78" y="32"/>
                    </a:lnTo>
                    <a:lnTo>
                      <a:pt x="74" y="28"/>
                    </a:lnTo>
                    <a:lnTo>
                      <a:pt x="70" y="24"/>
                    </a:lnTo>
                    <a:lnTo>
                      <a:pt x="64" y="20"/>
                    </a:lnTo>
                    <a:lnTo>
                      <a:pt x="56" y="18"/>
                    </a:lnTo>
                    <a:lnTo>
                      <a:pt x="50" y="18"/>
                    </a:lnTo>
                    <a:lnTo>
                      <a:pt x="50" y="18"/>
                    </a:lnTo>
                    <a:lnTo>
                      <a:pt x="40" y="18"/>
                    </a:lnTo>
                    <a:lnTo>
                      <a:pt x="32" y="22"/>
                    </a:lnTo>
                    <a:lnTo>
                      <a:pt x="26" y="26"/>
                    </a:lnTo>
                    <a:lnTo>
                      <a:pt x="20" y="34"/>
                    </a:lnTo>
                    <a:lnTo>
                      <a:pt x="16" y="42"/>
                    </a:lnTo>
                    <a:lnTo>
                      <a:pt x="0" y="32"/>
                    </a:lnTo>
                    <a:lnTo>
                      <a:pt x="4" y="24"/>
                    </a:lnTo>
                    <a:lnTo>
                      <a:pt x="4" y="24"/>
                    </a:lnTo>
                    <a:lnTo>
                      <a:pt x="14" y="14"/>
                    </a:lnTo>
                    <a:lnTo>
                      <a:pt x="24" y="6"/>
                    </a:lnTo>
                    <a:lnTo>
                      <a:pt x="36" y="0"/>
                    </a:lnTo>
                    <a:lnTo>
                      <a:pt x="50" y="0"/>
                    </a:lnTo>
                    <a:lnTo>
                      <a:pt x="50" y="0"/>
                    </a:lnTo>
                    <a:lnTo>
                      <a:pt x="60" y="0"/>
                    </a:lnTo>
                    <a:lnTo>
                      <a:pt x="70" y="4"/>
                    </a:lnTo>
                    <a:lnTo>
                      <a:pt x="80" y="8"/>
                    </a:lnTo>
                    <a:lnTo>
                      <a:pt x="88" y="14"/>
                    </a:lnTo>
                    <a:lnTo>
                      <a:pt x="94" y="22"/>
                    </a:lnTo>
                    <a:lnTo>
                      <a:pt x="98" y="32"/>
                    </a:lnTo>
                    <a:lnTo>
                      <a:pt x="102" y="42"/>
                    </a:lnTo>
                    <a:lnTo>
                      <a:pt x="102" y="52"/>
                    </a:lnTo>
                    <a:lnTo>
                      <a:pt x="102" y="52"/>
                    </a:lnTo>
                    <a:lnTo>
                      <a:pt x="102" y="62"/>
                    </a:lnTo>
                    <a:lnTo>
                      <a:pt x="100" y="70"/>
                    </a:lnTo>
                    <a:lnTo>
                      <a:pt x="96" y="78"/>
                    </a:lnTo>
                    <a:lnTo>
                      <a:pt x="90" y="86"/>
                    </a:lnTo>
                    <a:lnTo>
                      <a:pt x="84" y="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43">
                <a:extLst>
                  <a:ext uri="{FF2B5EF4-FFF2-40B4-BE49-F238E27FC236}">
                    <a16:creationId xmlns:a16="http://schemas.microsoft.com/office/drawing/2014/main" id="{18A0FB0B-1FBB-49A6-81E5-7F635FE80134}"/>
                  </a:ext>
                </a:extLst>
              </p:cNvPr>
              <p:cNvSpPr>
                <a:spLocks/>
              </p:cNvSpPr>
              <p:nvPr/>
            </p:nvSpPr>
            <p:spPr bwMode="auto">
              <a:xfrm>
                <a:off x="6192089" y="4563110"/>
                <a:ext cx="104775" cy="136525"/>
              </a:xfrm>
              <a:custGeom>
                <a:avLst/>
                <a:gdLst>
                  <a:gd name="T0" fmla="*/ 42 w 66"/>
                  <a:gd name="T1" fmla="*/ 86 h 86"/>
                  <a:gd name="T2" fmla="*/ 42 w 66"/>
                  <a:gd name="T3" fmla="*/ 86 h 86"/>
                  <a:gd name="T4" fmla="*/ 34 w 66"/>
                  <a:gd name="T5" fmla="*/ 86 h 86"/>
                  <a:gd name="T6" fmla="*/ 26 w 66"/>
                  <a:gd name="T7" fmla="*/ 84 h 86"/>
                  <a:gd name="T8" fmla="*/ 18 w 66"/>
                  <a:gd name="T9" fmla="*/ 80 h 86"/>
                  <a:gd name="T10" fmla="*/ 12 w 66"/>
                  <a:gd name="T11" fmla="*/ 74 h 86"/>
                  <a:gd name="T12" fmla="*/ 6 w 66"/>
                  <a:gd name="T13" fmla="*/ 68 h 86"/>
                  <a:gd name="T14" fmla="*/ 2 w 66"/>
                  <a:gd name="T15" fmla="*/ 60 h 86"/>
                  <a:gd name="T16" fmla="*/ 0 w 66"/>
                  <a:gd name="T17" fmla="*/ 52 h 86"/>
                  <a:gd name="T18" fmla="*/ 0 w 66"/>
                  <a:gd name="T19" fmla="*/ 44 h 86"/>
                  <a:gd name="T20" fmla="*/ 0 w 66"/>
                  <a:gd name="T21" fmla="*/ 44 h 86"/>
                  <a:gd name="T22" fmla="*/ 2 w 66"/>
                  <a:gd name="T23" fmla="*/ 30 h 86"/>
                  <a:gd name="T24" fmla="*/ 8 w 66"/>
                  <a:gd name="T25" fmla="*/ 18 h 86"/>
                  <a:gd name="T26" fmla="*/ 18 w 66"/>
                  <a:gd name="T27" fmla="*/ 8 h 86"/>
                  <a:gd name="T28" fmla="*/ 32 w 66"/>
                  <a:gd name="T29" fmla="*/ 2 h 86"/>
                  <a:gd name="T30" fmla="*/ 40 w 66"/>
                  <a:gd name="T31" fmla="*/ 0 h 86"/>
                  <a:gd name="T32" fmla="*/ 44 w 66"/>
                  <a:gd name="T33" fmla="*/ 18 h 86"/>
                  <a:gd name="T34" fmla="*/ 36 w 66"/>
                  <a:gd name="T35" fmla="*/ 20 h 86"/>
                  <a:gd name="T36" fmla="*/ 36 w 66"/>
                  <a:gd name="T37" fmla="*/ 20 h 86"/>
                  <a:gd name="T38" fmla="*/ 28 w 66"/>
                  <a:gd name="T39" fmla="*/ 22 h 86"/>
                  <a:gd name="T40" fmla="*/ 22 w 66"/>
                  <a:gd name="T41" fmla="*/ 28 h 86"/>
                  <a:gd name="T42" fmla="*/ 18 w 66"/>
                  <a:gd name="T43" fmla="*/ 36 h 86"/>
                  <a:gd name="T44" fmla="*/ 18 w 66"/>
                  <a:gd name="T45" fmla="*/ 44 h 86"/>
                  <a:gd name="T46" fmla="*/ 18 w 66"/>
                  <a:gd name="T47" fmla="*/ 44 h 86"/>
                  <a:gd name="T48" fmla="*/ 18 w 66"/>
                  <a:gd name="T49" fmla="*/ 50 h 86"/>
                  <a:gd name="T50" fmla="*/ 20 w 66"/>
                  <a:gd name="T51" fmla="*/ 56 h 86"/>
                  <a:gd name="T52" fmla="*/ 24 w 66"/>
                  <a:gd name="T53" fmla="*/ 60 h 86"/>
                  <a:gd name="T54" fmla="*/ 28 w 66"/>
                  <a:gd name="T55" fmla="*/ 64 h 86"/>
                  <a:gd name="T56" fmla="*/ 34 w 66"/>
                  <a:gd name="T57" fmla="*/ 66 h 86"/>
                  <a:gd name="T58" fmla="*/ 40 w 66"/>
                  <a:gd name="T59" fmla="*/ 68 h 86"/>
                  <a:gd name="T60" fmla="*/ 46 w 66"/>
                  <a:gd name="T61" fmla="*/ 68 h 86"/>
                  <a:gd name="T62" fmla="*/ 52 w 66"/>
                  <a:gd name="T63" fmla="*/ 66 h 86"/>
                  <a:gd name="T64" fmla="*/ 60 w 66"/>
                  <a:gd name="T65" fmla="*/ 64 h 86"/>
                  <a:gd name="T66" fmla="*/ 66 w 66"/>
                  <a:gd name="T67" fmla="*/ 80 h 86"/>
                  <a:gd name="T68" fmla="*/ 58 w 66"/>
                  <a:gd name="T69" fmla="*/ 84 h 86"/>
                  <a:gd name="T70" fmla="*/ 58 w 66"/>
                  <a:gd name="T71" fmla="*/ 84 h 86"/>
                  <a:gd name="T72" fmla="*/ 50 w 66"/>
                  <a:gd name="T73" fmla="*/ 86 h 86"/>
                  <a:gd name="T74" fmla="*/ 42 w 66"/>
                  <a:gd name="T75" fmla="*/ 86 h 86"/>
                  <a:gd name="T76" fmla="*/ 42 w 66"/>
                  <a:gd name="T7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86">
                    <a:moveTo>
                      <a:pt x="42" y="86"/>
                    </a:moveTo>
                    <a:lnTo>
                      <a:pt x="42" y="86"/>
                    </a:lnTo>
                    <a:lnTo>
                      <a:pt x="34" y="86"/>
                    </a:lnTo>
                    <a:lnTo>
                      <a:pt x="26" y="84"/>
                    </a:lnTo>
                    <a:lnTo>
                      <a:pt x="18" y="80"/>
                    </a:lnTo>
                    <a:lnTo>
                      <a:pt x="12" y="74"/>
                    </a:lnTo>
                    <a:lnTo>
                      <a:pt x="6" y="68"/>
                    </a:lnTo>
                    <a:lnTo>
                      <a:pt x="2" y="60"/>
                    </a:lnTo>
                    <a:lnTo>
                      <a:pt x="0" y="52"/>
                    </a:lnTo>
                    <a:lnTo>
                      <a:pt x="0" y="44"/>
                    </a:lnTo>
                    <a:lnTo>
                      <a:pt x="0" y="44"/>
                    </a:lnTo>
                    <a:lnTo>
                      <a:pt x="2" y="30"/>
                    </a:lnTo>
                    <a:lnTo>
                      <a:pt x="8" y="18"/>
                    </a:lnTo>
                    <a:lnTo>
                      <a:pt x="18" y="8"/>
                    </a:lnTo>
                    <a:lnTo>
                      <a:pt x="32" y="2"/>
                    </a:lnTo>
                    <a:lnTo>
                      <a:pt x="40" y="0"/>
                    </a:lnTo>
                    <a:lnTo>
                      <a:pt x="44" y="18"/>
                    </a:lnTo>
                    <a:lnTo>
                      <a:pt x="36" y="20"/>
                    </a:lnTo>
                    <a:lnTo>
                      <a:pt x="36" y="20"/>
                    </a:lnTo>
                    <a:lnTo>
                      <a:pt x="28" y="22"/>
                    </a:lnTo>
                    <a:lnTo>
                      <a:pt x="22" y="28"/>
                    </a:lnTo>
                    <a:lnTo>
                      <a:pt x="18" y="36"/>
                    </a:lnTo>
                    <a:lnTo>
                      <a:pt x="18" y="44"/>
                    </a:lnTo>
                    <a:lnTo>
                      <a:pt x="18" y="44"/>
                    </a:lnTo>
                    <a:lnTo>
                      <a:pt x="18" y="50"/>
                    </a:lnTo>
                    <a:lnTo>
                      <a:pt x="20" y="56"/>
                    </a:lnTo>
                    <a:lnTo>
                      <a:pt x="24" y="60"/>
                    </a:lnTo>
                    <a:lnTo>
                      <a:pt x="28" y="64"/>
                    </a:lnTo>
                    <a:lnTo>
                      <a:pt x="34" y="66"/>
                    </a:lnTo>
                    <a:lnTo>
                      <a:pt x="40" y="68"/>
                    </a:lnTo>
                    <a:lnTo>
                      <a:pt x="46" y="68"/>
                    </a:lnTo>
                    <a:lnTo>
                      <a:pt x="52" y="66"/>
                    </a:lnTo>
                    <a:lnTo>
                      <a:pt x="60" y="64"/>
                    </a:lnTo>
                    <a:lnTo>
                      <a:pt x="66" y="80"/>
                    </a:lnTo>
                    <a:lnTo>
                      <a:pt x="58" y="84"/>
                    </a:lnTo>
                    <a:lnTo>
                      <a:pt x="58" y="84"/>
                    </a:lnTo>
                    <a:lnTo>
                      <a:pt x="50" y="86"/>
                    </a:lnTo>
                    <a:lnTo>
                      <a:pt x="42" y="86"/>
                    </a:lnTo>
                    <a:lnTo>
                      <a:pt x="42" y="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44">
                <a:extLst>
                  <a:ext uri="{FF2B5EF4-FFF2-40B4-BE49-F238E27FC236}">
                    <a16:creationId xmlns:a16="http://schemas.microsoft.com/office/drawing/2014/main" id="{FEFD8523-8643-4491-90B2-C0F12B359C76}"/>
                  </a:ext>
                </a:extLst>
              </p:cNvPr>
              <p:cNvSpPr>
                <a:spLocks/>
              </p:cNvSpPr>
              <p:nvPr/>
            </p:nvSpPr>
            <p:spPr bwMode="auto">
              <a:xfrm>
                <a:off x="7049339" y="4823460"/>
                <a:ext cx="133350" cy="123825"/>
              </a:xfrm>
              <a:custGeom>
                <a:avLst/>
                <a:gdLst>
                  <a:gd name="T0" fmla="*/ 40 w 84"/>
                  <a:gd name="T1" fmla="*/ 78 h 78"/>
                  <a:gd name="T2" fmla="*/ 40 w 84"/>
                  <a:gd name="T3" fmla="*/ 78 h 78"/>
                  <a:gd name="T4" fmla="*/ 30 w 84"/>
                  <a:gd name="T5" fmla="*/ 78 h 78"/>
                  <a:gd name="T6" fmla="*/ 22 w 84"/>
                  <a:gd name="T7" fmla="*/ 74 h 78"/>
                  <a:gd name="T8" fmla="*/ 14 w 84"/>
                  <a:gd name="T9" fmla="*/ 68 h 78"/>
                  <a:gd name="T10" fmla="*/ 6 w 84"/>
                  <a:gd name="T11" fmla="*/ 60 h 78"/>
                  <a:gd name="T12" fmla="*/ 0 w 84"/>
                  <a:gd name="T13" fmla="*/ 54 h 78"/>
                  <a:gd name="T14" fmla="*/ 16 w 84"/>
                  <a:gd name="T15" fmla="*/ 42 h 78"/>
                  <a:gd name="T16" fmla="*/ 20 w 84"/>
                  <a:gd name="T17" fmla="*/ 50 h 78"/>
                  <a:gd name="T18" fmla="*/ 20 w 84"/>
                  <a:gd name="T19" fmla="*/ 50 h 78"/>
                  <a:gd name="T20" fmla="*/ 24 w 84"/>
                  <a:gd name="T21" fmla="*/ 54 h 78"/>
                  <a:gd name="T22" fmla="*/ 30 w 84"/>
                  <a:gd name="T23" fmla="*/ 58 h 78"/>
                  <a:gd name="T24" fmla="*/ 34 w 84"/>
                  <a:gd name="T25" fmla="*/ 60 h 78"/>
                  <a:gd name="T26" fmla="*/ 40 w 84"/>
                  <a:gd name="T27" fmla="*/ 60 h 78"/>
                  <a:gd name="T28" fmla="*/ 40 w 84"/>
                  <a:gd name="T29" fmla="*/ 60 h 78"/>
                  <a:gd name="T30" fmla="*/ 50 w 84"/>
                  <a:gd name="T31" fmla="*/ 58 h 78"/>
                  <a:gd name="T32" fmla="*/ 58 w 84"/>
                  <a:gd name="T33" fmla="*/ 54 h 78"/>
                  <a:gd name="T34" fmla="*/ 64 w 84"/>
                  <a:gd name="T35" fmla="*/ 46 h 78"/>
                  <a:gd name="T36" fmla="*/ 66 w 84"/>
                  <a:gd name="T37" fmla="*/ 36 h 78"/>
                  <a:gd name="T38" fmla="*/ 66 w 84"/>
                  <a:gd name="T39" fmla="*/ 36 h 78"/>
                  <a:gd name="T40" fmla="*/ 66 w 84"/>
                  <a:gd name="T41" fmla="*/ 30 h 78"/>
                  <a:gd name="T42" fmla="*/ 64 w 84"/>
                  <a:gd name="T43" fmla="*/ 26 h 78"/>
                  <a:gd name="T44" fmla="*/ 60 w 84"/>
                  <a:gd name="T45" fmla="*/ 20 h 78"/>
                  <a:gd name="T46" fmla="*/ 54 w 84"/>
                  <a:gd name="T47" fmla="*/ 12 h 78"/>
                  <a:gd name="T48" fmla="*/ 66 w 84"/>
                  <a:gd name="T49" fmla="*/ 0 h 78"/>
                  <a:gd name="T50" fmla="*/ 72 w 84"/>
                  <a:gd name="T51" fmla="*/ 8 h 78"/>
                  <a:gd name="T52" fmla="*/ 72 w 84"/>
                  <a:gd name="T53" fmla="*/ 8 h 78"/>
                  <a:gd name="T54" fmla="*/ 78 w 84"/>
                  <a:gd name="T55" fmla="*/ 14 h 78"/>
                  <a:gd name="T56" fmla="*/ 80 w 84"/>
                  <a:gd name="T57" fmla="*/ 20 h 78"/>
                  <a:gd name="T58" fmla="*/ 82 w 84"/>
                  <a:gd name="T59" fmla="*/ 28 h 78"/>
                  <a:gd name="T60" fmla="*/ 84 w 84"/>
                  <a:gd name="T61" fmla="*/ 36 h 78"/>
                  <a:gd name="T62" fmla="*/ 84 w 84"/>
                  <a:gd name="T63" fmla="*/ 36 h 78"/>
                  <a:gd name="T64" fmla="*/ 82 w 84"/>
                  <a:gd name="T65" fmla="*/ 44 h 78"/>
                  <a:gd name="T66" fmla="*/ 80 w 84"/>
                  <a:gd name="T67" fmla="*/ 52 h 78"/>
                  <a:gd name="T68" fmla="*/ 76 w 84"/>
                  <a:gd name="T69" fmla="*/ 60 h 78"/>
                  <a:gd name="T70" fmla="*/ 72 w 84"/>
                  <a:gd name="T71" fmla="*/ 66 h 78"/>
                  <a:gd name="T72" fmla="*/ 64 w 84"/>
                  <a:gd name="T73" fmla="*/ 72 h 78"/>
                  <a:gd name="T74" fmla="*/ 58 w 84"/>
                  <a:gd name="T75" fmla="*/ 76 h 78"/>
                  <a:gd name="T76" fmla="*/ 50 w 84"/>
                  <a:gd name="T77" fmla="*/ 78 h 78"/>
                  <a:gd name="T78" fmla="*/ 40 w 84"/>
                  <a:gd name="T79" fmla="*/ 78 h 78"/>
                  <a:gd name="T80" fmla="*/ 40 w 84"/>
                  <a:gd name="T8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78">
                    <a:moveTo>
                      <a:pt x="40" y="78"/>
                    </a:moveTo>
                    <a:lnTo>
                      <a:pt x="40" y="78"/>
                    </a:lnTo>
                    <a:lnTo>
                      <a:pt x="30" y="78"/>
                    </a:lnTo>
                    <a:lnTo>
                      <a:pt x="22" y="74"/>
                    </a:lnTo>
                    <a:lnTo>
                      <a:pt x="14" y="68"/>
                    </a:lnTo>
                    <a:lnTo>
                      <a:pt x="6" y="60"/>
                    </a:lnTo>
                    <a:lnTo>
                      <a:pt x="0" y="54"/>
                    </a:lnTo>
                    <a:lnTo>
                      <a:pt x="16" y="42"/>
                    </a:lnTo>
                    <a:lnTo>
                      <a:pt x="20" y="50"/>
                    </a:lnTo>
                    <a:lnTo>
                      <a:pt x="20" y="50"/>
                    </a:lnTo>
                    <a:lnTo>
                      <a:pt x="24" y="54"/>
                    </a:lnTo>
                    <a:lnTo>
                      <a:pt x="30" y="58"/>
                    </a:lnTo>
                    <a:lnTo>
                      <a:pt x="34" y="60"/>
                    </a:lnTo>
                    <a:lnTo>
                      <a:pt x="40" y="60"/>
                    </a:lnTo>
                    <a:lnTo>
                      <a:pt x="40" y="60"/>
                    </a:lnTo>
                    <a:lnTo>
                      <a:pt x="50" y="58"/>
                    </a:lnTo>
                    <a:lnTo>
                      <a:pt x="58" y="54"/>
                    </a:lnTo>
                    <a:lnTo>
                      <a:pt x="64" y="46"/>
                    </a:lnTo>
                    <a:lnTo>
                      <a:pt x="66" y="36"/>
                    </a:lnTo>
                    <a:lnTo>
                      <a:pt x="66" y="36"/>
                    </a:lnTo>
                    <a:lnTo>
                      <a:pt x="66" y="30"/>
                    </a:lnTo>
                    <a:lnTo>
                      <a:pt x="64" y="26"/>
                    </a:lnTo>
                    <a:lnTo>
                      <a:pt x="60" y="20"/>
                    </a:lnTo>
                    <a:lnTo>
                      <a:pt x="54" y="12"/>
                    </a:lnTo>
                    <a:lnTo>
                      <a:pt x="66" y="0"/>
                    </a:lnTo>
                    <a:lnTo>
                      <a:pt x="72" y="8"/>
                    </a:lnTo>
                    <a:lnTo>
                      <a:pt x="72" y="8"/>
                    </a:lnTo>
                    <a:lnTo>
                      <a:pt x="78" y="14"/>
                    </a:lnTo>
                    <a:lnTo>
                      <a:pt x="80" y="20"/>
                    </a:lnTo>
                    <a:lnTo>
                      <a:pt x="82" y="28"/>
                    </a:lnTo>
                    <a:lnTo>
                      <a:pt x="84" y="36"/>
                    </a:lnTo>
                    <a:lnTo>
                      <a:pt x="84" y="36"/>
                    </a:lnTo>
                    <a:lnTo>
                      <a:pt x="82" y="44"/>
                    </a:lnTo>
                    <a:lnTo>
                      <a:pt x="80" y="52"/>
                    </a:lnTo>
                    <a:lnTo>
                      <a:pt x="76" y="60"/>
                    </a:lnTo>
                    <a:lnTo>
                      <a:pt x="72" y="66"/>
                    </a:lnTo>
                    <a:lnTo>
                      <a:pt x="64" y="72"/>
                    </a:lnTo>
                    <a:lnTo>
                      <a:pt x="58" y="76"/>
                    </a:lnTo>
                    <a:lnTo>
                      <a:pt x="50" y="78"/>
                    </a:lnTo>
                    <a:lnTo>
                      <a:pt x="40" y="78"/>
                    </a:lnTo>
                    <a:lnTo>
                      <a:pt x="4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Rectangle 45">
                <a:extLst>
                  <a:ext uri="{FF2B5EF4-FFF2-40B4-BE49-F238E27FC236}">
                    <a16:creationId xmlns:a16="http://schemas.microsoft.com/office/drawing/2014/main" id="{34ADA723-7409-4308-894E-37935EBF314F}"/>
                  </a:ext>
                </a:extLst>
              </p:cNvPr>
              <p:cNvSpPr>
                <a:spLocks noChangeArrowheads="1"/>
              </p:cNvSpPr>
              <p:nvPr/>
            </p:nvSpPr>
            <p:spPr bwMode="auto">
              <a:xfrm>
                <a:off x="6674689" y="4445635"/>
                <a:ext cx="38100"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Rectangle 46">
                <a:extLst>
                  <a:ext uri="{FF2B5EF4-FFF2-40B4-BE49-F238E27FC236}">
                    <a16:creationId xmlns:a16="http://schemas.microsoft.com/office/drawing/2014/main" id="{1EE5A1D0-56C3-4D34-A9C1-4AC73311BEB6}"/>
                  </a:ext>
                </a:extLst>
              </p:cNvPr>
              <p:cNvSpPr>
                <a:spLocks noChangeArrowheads="1"/>
              </p:cNvSpPr>
              <p:nvPr/>
            </p:nvSpPr>
            <p:spPr bwMode="auto">
              <a:xfrm>
                <a:off x="6754064" y="4445635"/>
                <a:ext cx="38100"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Rectangle 47">
                <a:extLst>
                  <a:ext uri="{FF2B5EF4-FFF2-40B4-BE49-F238E27FC236}">
                    <a16:creationId xmlns:a16="http://schemas.microsoft.com/office/drawing/2014/main" id="{0B9AE1BA-A100-4A94-A84F-C4E9879997D5}"/>
                  </a:ext>
                </a:extLst>
              </p:cNvPr>
              <p:cNvSpPr>
                <a:spLocks noChangeArrowheads="1"/>
              </p:cNvSpPr>
              <p:nvPr/>
            </p:nvSpPr>
            <p:spPr bwMode="auto">
              <a:xfrm>
                <a:off x="6833439" y="4445635"/>
                <a:ext cx="38100"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92" name="Graphic 191">
              <a:extLst>
                <a:ext uri="{FF2B5EF4-FFF2-40B4-BE49-F238E27FC236}">
                  <a16:creationId xmlns:a16="http://schemas.microsoft.com/office/drawing/2014/main" id="{83F86B5A-BCF4-44F6-82C1-DA083D7EF8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18349" y="3742717"/>
              <a:ext cx="776641" cy="788589"/>
            </a:xfrm>
            <a:prstGeom prst="rect">
              <a:avLst/>
            </a:prstGeom>
          </p:spPr>
        </p:pic>
        <p:sp>
          <p:nvSpPr>
            <p:cNvPr id="193" name="Rectangle 192">
              <a:extLst>
                <a:ext uri="{FF2B5EF4-FFF2-40B4-BE49-F238E27FC236}">
                  <a16:creationId xmlns:a16="http://schemas.microsoft.com/office/drawing/2014/main" id="{268012CF-D2CA-4CBA-BF9E-F5B8115652A2}"/>
                </a:ext>
              </a:extLst>
            </p:cNvPr>
            <p:cNvSpPr/>
            <p:nvPr/>
          </p:nvSpPr>
          <p:spPr>
            <a:xfrm>
              <a:off x="9686505" y="2282021"/>
              <a:ext cx="1878542" cy="2196253"/>
            </a:xfrm>
            <a:prstGeom prst="rect">
              <a:avLst/>
            </a:prstGeom>
            <a:noFill/>
            <a:ln w="9525">
              <a:solidFill>
                <a:srgbClr val="FF8D8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94" name="TextBox 193">
              <a:extLst>
                <a:ext uri="{FF2B5EF4-FFF2-40B4-BE49-F238E27FC236}">
                  <a16:creationId xmlns:a16="http://schemas.microsoft.com/office/drawing/2014/main" id="{D9949341-E633-4B29-9851-697A70C0147E}"/>
                </a:ext>
              </a:extLst>
            </p:cNvPr>
            <p:cNvSpPr txBox="1"/>
            <p:nvPr/>
          </p:nvSpPr>
          <p:spPr>
            <a:xfrm>
              <a:off x="9953700" y="2688804"/>
              <a:ext cx="1299210" cy="341618"/>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200" dirty="0">
                  <a:solidFill>
                    <a:schemeClr val="bg1"/>
                  </a:solidFill>
                  <a:latin typeface="EYInterstate" panose="02000503020000020004" pitchFamily="2" charset="0"/>
                </a:rPr>
                <a:t>Peer to peer network</a:t>
              </a:r>
            </a:p>
          </p:txBody>
        </p:sp>
        <p:sp>
          <p:nvSpPr>
            <p:cNvPr id="195" name="TextBox 194">
              <a:extLst>
                <a:ext uri="{FF2B5EF4-FFF2-40B4-BE49-F238E27FC236}">
                  <a16:creationId xmlns:a16="http://schemas.microsoft.com/office/drawing/2014/main" id="{96BC421B-E03B-4E5E-8789-E403C6365CF7}"/>
                </a:ext>
              </a:extLst>
            </p:cNvPr>
            <p:cNvSpPr txBox="1"/>
            <p:nvPr/>
          </p:nvSpPr>
          <p:spPr>
            <a:xfrm>
              <a:off x="9773067" y="3271987"/>
              <a:ext cx="1593013" cy="923330"/>
            </a:xfrm>
            <a:prstGeom prst="rect">
              <a:avLst/>
            </a:prstGeom>
            <a:noFill/>
          </p:spPr>
          <p:txBody>
            <a:bodyPr wrap="square" lIns="0" tIns="0" rIns="0" bIns="0" rtlCol="0" anchor="t">
              <a:spAutoFit/>
            </a:bodyPr>
            <a:lstStyle/>
            <a:p>
              <a:pPr marL="90439"/>
              <a:r>
                <a:rPr lang="en-US" sz="1000" kern="0" dirty="0">
                  <a:solidFill>
                    <a:schemeClr val="bg1"/>
                  </a:solidFill>
                  <a:cs typeface="Arial"/>
                </a:rPr>
                <a:t>An electronic communication platform made up of computers called “nodes” with identical versions of the distributed ledger</a:t>
              </a:r>
            </a:p>
          </p:txBody>
        </p:sp>
        <p:sp>
          <p:nvSpPr>
            <p:cNvPr id="196" name="Oval 195">
              <a:extLst>
                <a:ext uri="{FF2B5EF4-FFF2-40B4-BE49-F238E27FC236}">
                  <a16:creationId xmlns:a16="http://schemas.microsoft.com/office/drawing/2014/main" id="{B750649D-9245-43D0-9054-F60D745C9264}"/>
                </a:ext>
              </a:extLst>
            </p:cNvPr>
            <p:cNvSpPr/>
            <p:nvPr/>
          </p:nvSpPr>
          <p:spPr>
            <a:xfrm>
              <a:off x="10237456" y="1893700"/>
              <a:ext cx="776641" cy="776641"/>
            </a:xfrm>
            <a:prstGeom prst="ellipse">
              <a:avLst/>
            </a:prstGeom>
            <a:solidFill>
              <a:srgbClr val="FF8D86"/>
            </a:solidFill>
            <a:ln w="9525">
              <a:solidFill>
                <a:srgbClr val="FF8D8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128" name="Group 127">
              <a:extLst>
                <a:ext uri="{FF2B5EF4-FFF2-40B4-BE49-F238E27FC236}">
                  <a16:creationId xmlns:a16="http://schemas.microsoft.com/office/drawing/2014/main" id="{EBA05BA3-C2DD-4011-96BE-83B3CD6A5811}"/>
                </a:ext>
              </a:extLst>
            </p:cNvPr>
            <p:cNvGrpSpPr/>
            <p:nvPr/>
          </p:nvGrpSpPr>
          <p:grpSpPr>
            <a:xfrm>
              <a:off x="10394426" y="2059014"/>
              <a:ext cx="468455" cy="433035"/>
              <a:chOff x="5648325" y="4068763"/>
              <a:chExt cx="1301750" cy="1203325"/>
            </a:xfrm>
          </p:grpSpPr>
          <p:sp>
            <p:nvSpPr>
              <p:cNvPr id="129" name="Freeform 42">
                <a:extLst>
                  <a:ext uri="{FF2B5EF4-FFF2-40B4-BE49-F238E27FC236}">
                    <a16:creationId xmlns:a16="http://schemas.microsoft.com/office/drawing/2014/main" id="{02C7A792-EDFF-427B-9BA4-0F1987325086}"/>
                  </a:ext>
                </a:extLst>
              </p:cNvPr>
              <p:cNvSpPr>
                <a:spLocks noEditPoints="1"/>
              </p:cNvSpPr>
              <p:nvPr/>
            </p:nvSpPr>
            <p:spPr bwMode="auto">
              <a:xfrm>
                <a:off x="6057900" y="4484688"/>
                <a:ext cx="431800" cy="431800"/>
              </a:xfrm>
              <a:custGeom>
                <a:avLst/>
                <a:gdLst>
                  <a:gd name="T0" fmla="*/ 136 w 272"/>
                  <a:gd name="T1" fmla="*/ 272 h 272"/>
                  <a:gd name="T2" fmla="*/ 110 w 272"/>
                  <a:gd name="T3" fmla="*/ 268 h 272"/>
                  <a:gd name="T4" fmla="*/ 84 w 272"/>
                  <a:gd name="T5" fmla="*/ 260 h 272"/>
                  <a:gd name="T6" fmla="*/ 60 w 272"/>
                  <a:gd name="T7" fmla="*/ 248 h 272"/>
                  <a:gd name="T8" fmla="*/ 40 w 272"/>
                  <a:gd name="T9" fmla="*/ 232 h 272"/>
                  <a:gd name="T10" fmla="*/ 24 w 272"/>
                  <a:gd name="T11" fmla="*/ 212 h 272"/>
                  <a:gd name="T12" fmla="*/ 12 w 272"/>
                  <a:gd name="T13" fmla="*/ 188 h 272"/>
                  <a:gd name="T14" fmla="*/ 4 w 272"/>
                  <a:gd name="T15" fmla="*/ 162 h 272"/>
                  <a:gd name="T16" fmla="*/ 0 w 272"/>
                  <a:gd name="T17" fmla="*/ 136 h 272"/>
                  <a:gd name="T18" fmla="*/ 2 w 272"/>
                  <a:gd name="T19" fmla="*/ 122 h 272"/>
                  <a:gd name="T20" fmla="*/ 8 w 272"/>
                  <a:gd name="T21" fmla="*/ 96 h 272"/>
                  <a:gd name="T22" fmla="*/ 18 w 272"/>
                  <a:gd name="T23" fmla="*/ 70 h 272"/>
                  <a:gd name="T24" fmla="*/ 32 w 272"/>
                  <a:gd name="T25" fmla="*/ 50 h 272"/>
                  <a:gd name="T26" fmla="*/ 50 w 272"/>
                  <a:gd name="T27" fmla="*/ 30 h 272"/>
                  <a:gd name="T28" fmla="*/ 72 w 272"/>
                  <a:gd name="T29" fmla="*/ 16 h 272"/>
                  <a:gd name="T30" fmla="*/ 96 w 272"/>
                  <a:gd name="T31" fmla="*/ 6 h 272"/>
                  <a:gd name="T32" fmla="*/ 122 w 272"/>
                  <a:gd name="T33" fmla="*/ 0 h 272"/>
                  <a:gd name="T34" fmla="*/ 136 w 272"/>
                  <a:gd name="T35" fmla="*/ 0 h 272"/>
                  <a:gd name="T36" fmla="*/ 164 w 272"/>
                  <a:gd name="T37" fmla="*/ 2 h 272"/>
                  <a:gd name="T38" fmla="*/ 190 w 272"/>
                  <a:gd name="T39" fmla="*/ 10 h 272"/>
                  <a:gd name="T40" fmla="*/ 212 w 272"/>
                  <a:gd name="T41" fmla="*/ 22 h 272"/>
                  <a:gd name="T42" fmla="*/ 232 w 272"/>
                  <a:gd name="T43" fmla="*/ 40 h 272"/>
                  <a:gd name="T44" fmla="*/ 250 w 272"/>
                  <a:gd name="T45" fmla="*/ 60 h 272"/>
                  <a:gd name="T46" fmla="*/ 262 w 272"/>
                  <a:gd name="T47" fmla="*/ 82 h 272"/>
                  <a:gd name="T48" fmla="*/ 270 w 272"/>
                  <a:gd name="T49" fmla="*/ 108 h 272"/>
                  <a:gd name="T50" fmla="*/ 272 w 272"/>
                  <a:gd name="T51" fmla="*/ 136 h 272"/>
                  <a:gd name="T52" fmla="*/ 272 w 272"/>
                  <a:gd name="T53" fmla="*/ 150 h 272"/>
                  <a:gd name="T54" fmla="*/ 266 w 272"/>
                  <a:gd name="T55" fmla="*/ 176 h 272"/>
                  <a:gd name="T56" fmla="*/ 256 w 272"/>
                  <a:gd name="T57" fmla="*/ 200 h 272"/>
                  <a:gd name="T58" fmla="*/ 242 w 272"/>
                  <a:gd name="T59" fmla="*/ 222 h 272"/>
                  <a:gd name="T60" fmla="*/ 224 w 272"/>
                  <a:gd name="T61" fmla="*/ 240 h 272"/>
                  <a:gd name="T62" fmla="*/ 202 w 272"/>
                  <a:gd name="T63" fmla="*/ 256 h 272"/>
                  <a:gd name="T64" fmla="*/ 178 w 272"/>
                  <a:gd name="T65" fmla="*/ 266 h 272"/>
                  <a:gd name="T66" fmla="*/ 150 w 272"/>
                  <a:gd name="T67" fmla="*/ 270 h 272"/>
                  <a:gd name="T68" fmla="*/ 136 w 272"/>
                  <a:gd name="T69" fmla="*/ 272 h 272"/>
                  <a:gd name="T70" fmla="*/ 136 w 272"/>
                  <a:gd name="T71" fmla="*/ 18 h 272"/>
                  <a:gd name="T72" fmla="*/ 114 w 272"/>
                  <a:gd name="T73" fmla="*/ 20 h 272"/>
                  <a:gd name="T74" fmla="*/ 70 w 272"/>
                  <a:gd name="T75" fmla="*/ 38 h 272"/>
                  <a:gd name="T76" fmla="*/ 40 w 272"/>
                  <a:gd name="T77" fmla="*/ 70 h 272"/>
                  <a:gd name="T78" fmla="*/ 22 w 272"/>
                  <a:gd name="T79" fmla="*/ 112 h 272"/>
                  <a:gd name="T80" fmla="*/ 18 w 272"/>
                  <a:gd name="T81" fmla="*/ 136 h 272"/>
                  <a:gd name="T82" fmla="*/ 20 w 272"/>
                  <a:gd name="T83" fmla="*/ 148 h 272"/>
                  <a:gd name="T84" fmla="*/ 28 w 272"/>
                  <a:gd name="T85" fmla="*/ 182 h 272"/>
                  <a:gd name="T86" fmla="*/ 54 w 272"/>
                  <a:gd name="T87" fmla="*/ 218 h 272"/>
                  <a:gd name="T88" fmla="*/ 92 w 272"/>
                  <a:gd name="T89" fmla="*/ 244 h 272"/>
                  <a:gd name="T90" fmla="*/ 124 w 272"/>
                  <a:gd name="T91" fmla="*/ 252 h 272"/>
                  <a:gd name="T92" fmla="*/ 136 w 272"/>
                  <a:gd name="T93" fmla="*/ 254 h 272"/>
                  <a:gd name="T94" fmla="*/ 160 w 272"/>
                  <a:gd name="T95" fmla="*/ 252 h 272"/>
                  <a:gd name="T96" fmla="*/ 202 w 272"/>
                  <a:gd name="T97" fmla="*/ 234 h 272"/>
                  <a:gd name="T98" fmla="*/ 234 w 272"/>
                  <a:gd name="T99" fmla="*/ 202 h 272"/>
                  <a:gd name="T100" fmla="*/ 252 w 272"/>
                  <a:gd name="T101" fmla="*/ 160 h 272"/>
                  <a:gd name="T102" fmla="*/ 254 w 272"/>
                  <a:gd name="T103" fmla="*/ 136 h 272"/>
                  <a:gd name="T104" fmla="*/ 254 w 272"/>
                  <a:gd name="T105" fmla="*/ 124 h 272"/>
                  <a:gd name="T106" fmla="*/ 246 w 272"/>
                  <a:gd name="T107" fmla="*/ 90 h 272"/>
                  <a:gd name="T108" fmla="*/ 220 w 272"/>
                  <a:gd name="T109" fmla="*/ 52 h 272"/>
                  <a:gd name="T110" fmla="*/ 182 w 272"/>
                  <a:gd name="T111" fmla="*/ 26 h 272"/>
                  <a:gd name="T112" fmla="*/ 148 w 272"/>
                  <a:gd name="T113" fmla="*/ 18 h 272"/>
                  <a:gd name="T114" fmla="*/ 136 w 272"/>
                  <a:gd name="T115" fmla="*/ 1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272">
                    <a:moveTo>
                      <a:pt x="136" y="272"/>
                    </a:moveTo>
                    <a:lnTo>
                      <a:pt x="136" y="272"/>
                    </a:lnTo>
                    <a:lnTo>
                      <a:pt x="122" y="270"/>
                    </a:lnTo>
                    <a:lnTo>
                      <a:pt x="110" y="268"/>
                    </a:lnTo>
                    <a:lnTo>
                      <a:pt x="96" y="266"/>
                    </a:lnTo>
                    <a:lnTo>
                      <a:pt x="84" y="260"/>
                    </a:lnTo>
                    <a:lnTo>
                      <a:pt x="72" y="256"/>
                    </a:lnTo>
                    <a:lnTo>
                      <a:pt x="60" y="248"/>
                    </a:lnTo>
                    <a:lnTo>
                      <a:pt x="50" y="240"/>
                    </a:lnTo>
                    <a:lnTo>
                      <a:pt x="40" y="232"/>
                    </a:lnTo>
                    <a:lnTo>
                      <a:pt x="32" y="222"/>
                    </a:lnTo>
                    <a:lnTo>
                      <a:pt x="24" y="212"/>
                    </a:lnTo>
                    <a:lnTo>
                      <a:pt x="18" y="200"/>
                    </a:lnTo>
                    <a:lnTo>
                      <a:pt x="12" y="188"/>
                    </a:lnTo>
                    <a:lnTo>
                      <a:pt x="8" y="176"/>
                    </a:lnTo>
                    <a:lnTo>
                      <a:pt x="4" y="162"/>
                    </a:lnTo>
                    <a:lnTo>
                      <a:pt x="2" y="150"/>
                    </a:lnTo>
                    <a:lnTo>
                      <a:pt x="0" y="136"/>
                    </a:lnTo>
                    <a:lnTo>
                      <a:pt x="0" y="136"/>
                    </a:lnTo>
                    <a:lnTo>
                      <a:pt x="2" y="122"/>
                    </a:lnTo>
                    <a:lnTo>
                      <a:pt x="4" y="108"/>
                    </a:lnTo>
                    <a:lnTo>
                      <a:pt x="8" y="96"/>
                    </a:lnTo>
                    <a:lnTo>
                      <a:pt x="12" y="82"/>
                    </a:lnTo>
                    <a:lnTo>
                      <a:pt x="18" y="70"/>
                    </a:lnTo>
                    <a:lnTo>
                      <a:pt x="24" y="60"/>
                    </a:lnTo>
                    <a:lnTo>
                      <a:pt x="32" y="50"/>
                    </a:lnTo>
                    <a:lnTo>
                      <a:pt x="40" y="40"/>
                    </a:lnTo>
                    <a:lnTo>
                      <a:pt x="50" y="30"/>
                    </a:lnTo>
                    <a:lnTo>
                      <a:pt x="60" y="22"/>
                    </a:lnTo>
                    <a:lnTo>
                      <a:pt x="72" y="16"/>
                    </a:lnTo>
                    <a:lnTo>
                      <a:pt x="84" y="10"/>
                    </a:lnTo>
                    <a:lnTo>
                      <a:pt x="96" y="6"/>
                    </a:lnTo>
                    <a:lnTo>
                      <a:pt x="110" y="2"/>
                    </a:lnTo>
                    <a:lnTo>
                      <a:pt x="122" y="0"/>
                    </a:lnTo>
                    <a:lnTo>
                      <a:pt x="136" y="0"/>
                    </a:lnTo>
                    <a:lnTo>
                      <a:pt x="136" y="0"/>
                    </a:lnTo>
                    <a:lnTo>
                      <a:pt x="150" y="0"/>
                    </a:lnTo>
                    <a:lnTo>
                      <a:pt x="164" y="2"/>
                    </a:lnTo>
                    <a:lnTo>
                      <a:pt x="178" y="6"/>
                    </a:lnTo>
                    <a:lnTo>
                      <a:pt x="190" y="10"/>
                    </a:lnTo>
                    <a:lnTo>
                      <a:pt x="202" y="16"/>
                    </a:lnTo>
                    <a:lnTo>
                      <a:pt x="212" y="22"/>
                    </a:lnTo>
                    <a:lnTo>
                      <a:pt x="224" y="30"/>
                    </a:lnTo>
                    <a:lnTo>
                      <a:pt x="232" y="40"/>
                    </a:lnTo>
                    <a:lnTo>
                      <a:pt x="242" y="50"/>
                    </a:lnTo>
                    <a:lnTo>
                      <a:pt x="250" y="60"/>
                    </a:lnTo>
                    <a:lnTo>
                      <a:pt x="256" y="70"/>
                    </a:lnTo>
                    <a:lnTo>
                      <a:pt x="262" y="82"/>
                    </a:lnTo>
                    <a:lnTo>
                      <a:pt x="266" y="96"/>
                    </a:lnTo>
                    <a:lnTo>
                      <a:pt x="270" y="108"/>
                    </a:lnTo>
                    <a:lnTo>
                      <a:pt x="272" y="122"/>
                    </a:lnTo>
                    <a:lnTo>
                      <a:pt x="272" y="136"/>
                    </a:lnTo>
                    <a:lnTo>
                      <a:pt x="272" y="136"/>
                    </a:lnTo>
                    <a:lnTo>
                      <a:pt x="272" y="150"/>
                    </a:lnTo>
                    <a:lnTo>
                      <a:pt x="270" y="162"/>
                    </a:lnTo>
                    <a:lnTo>
                      <a:pt x="266" y="176"/>
                    </a:lnTo>
                    <a:lnTo>
                      <a:pt x="262" y="188"/>
                    </a:lnTo>
                    <a:lnTo>
                      <a:pt x="256" y="200"/>
                    </a:lnTo>
                    <a:lnTo>
                      <a:pt x="250" y="212"/>
                    </a:lnTo>
                    <a:lnTo>
                      <a:pt x="242" y="222"/>
                    </a:lnTo>
                    <a:lnTo>
                      <a:pt x="232" y="232"/>
                    </a:lnTo>
                    <a:lnTo>
                      <a:pt x="224" y="240"/>
                    </a:lnTo>
                    <a:lnTo>
                      <a:pt x="212" y="248"/>
                    </a:lnTo>
                    <a:lnTo>
                      <a:pt x="202" y="256"/>
                    </a:lnTo>
                    <a:lnTo>
                      <a:pt x="190" y="260"/>
                    </a:lnTo>
                    <a:lnTo>
                      <a:pt x="178" y="266"/>
                    </a:lnTo>
                    <a:lnTo>
                      <a:pt x="164" y="268"/>
                    </a:lnTo>
                    <a:lnTo>
                      <a:pt x="150" y="270"/>
                    </a:lnTo>
                    <a:lnTo>
                      <a:pt x="136" y="272"/>
                    </a:lnTo>
                    <a:lnTo>
                      <a:pt x="136" y="272"/>
                    </a:lnTo>
                    <a:close/>
                    <a:moveTo>
                      <a:pt x="136" y="18"/>
                    </a:moveTo>
                    <a:lnTo>
                      <a:pt x="136" y="18"/>
                    </a:lnTo>
                    <a:lnTo>
                      <a:pt x="124" y="18"/>
                    </a:lnTo>
                    <a:lnTo>
                      <a:pt x="114" y="20"/>
                    </a:lnTo>
                    <a:lnTo>
                      <a:pt x="92" y="26"/>
                    </a:lnTo>
                    <a:lnTo>
                      <a:pt x="70" y="38"/>
                    </a:lnTo>
                    <a:lnTo>
                      <a:pt x="54" y="52"/>
                    </a:lnTo>
                    <a:lnTo>
                      <a:pt x="40" y="70"/>
                    </a:lnTo>
                    <a:lnTo>
                      <a:pt x="28" y="90"/>
                    </a:lnTo>
                    <a:lnTo>
                      <a:pt x="22" y="112"/>
                    </a:lnTo>
                    <a:lnTo>
                      <a:pt x="20" y="124"/>
                    </a:lnTo>
                    <a:lnTo>
                      <a:pt x="18" y="136"/>
                    </a:lnTo>
                    <a:lnTo>
                      <a:pt x="18" y="136"/>
                    </a:lnTo>
                    <a:lnTo>
                      <a:pt x="20" y="148"/>
                    </a:lnTo>
                    <a:lnTo>
                      <a:pt x="22" y="160"/>
                    </a:lnTo>
                    <a:lnTo>
                      <a:pt x="28" y="182"/>
                    </a:lnTo>
                    <a:lnTo>
                      <a:pt x="40" y="202"/>
                    </a:lnTo>
                    <a:lnTo>
                      <a:pt x="54" y="218"/>
                    </a:lnTo>
                    <a:lnTo>
                      <a:pt x="70" y="234"/>
                    </a:lnTo>
                    <a:lnTo>
                      <a:pt x="92" y="244"/>
                    </a:lnTo>
                    <a:lnTo>
                      <a:pt x="114" y="252"/>
                    </a:lnTo>
                    <a:lnTo>
                      <a:pt x="124" y="252"/>
                    </a:lnTo>
                    <a:lnTo>
                      <a:pt x="136" y="254"/>
                    </a:lnTo>
                    <a:lnTo>
                      <a:pt x="136" y="254"/>
                    </a:lnTo>
                    <a:lnTo>
                      <a:pt x="148" y="252"/>
                    </a:lnTo>
                    <a:lnTo>
                      <a:pt x="160" y="252"/>
                    </a:lnTo>
                    <a:lnTo>
                      <a:pt x="182" y="244"/>
                    </a:lnTo>
                    <a:lnTo>
                      <a:pt x="202" y="234"/>
                    </a:lnTo>
                    <a:lnTo>
                      <a:pt x="220" y="218"/>
                    </a:lnTo>
                    <a:lnTo>
                      <a:pt x="234" y="202"/>
                    </a:lnTo>
                    <a:lnTo>
                      <a:pt x="246" y="182"/>
                    </a:lnTo>
                    <a:lnTo>
                      <a:pt x="252" y="160"/>
                    </a:lnTo>
                    <a:lnTo>
                      <a:pt x="254" y="148"/>
                    </a:lnTo>
                    <a:lnTo>
                      <a:pt x="254" y="136"/>
                    </a:lnTo>
                    <a:lnTo>
                      <a:pt x="254" y="136"/>
                    </a:lnTo>
                    <a:lnTo>
                      <a:pt x="254" y="124"/>
                    </a:lnTo>
                    <a:lnTo>
                      <a:pt x="252" y="112"/>
                    </a:lnTo>
                    <a:lnTo>
                      <a:pt x="246" y="90"/>
                    </a:lnTo>
                    <a:lnTo>
                      <a:pt x="234" y="70"/>
                    </a:lnTo>
                    <a:lnTo>
                      <a:pt x="220" y="52"/>
                    </a:lnTo>
                    <a:lnTo>
                      <a:pt x="202" y="38"/>
                    </a:lnTo>
                    <a:lnTo>
                      <a:pt x="182" y="26"/>
                    </a:lnTo>
                    <a:lnTo>
                      <a:pt x="160" y="20"/>
                    </a:lnTo>
                    <a:lnTo>
                      <a:pt x="148" y="18"/>
                    </a:lnTo>
                    <a:lnTo>
                      <a:pt x="136" y="18"/>
                    </a:lnTo>
                    <a:lnTo>
                      <a:pt x="136"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43">
                <a:extLst>
                  <a:ext uri="{FF2B5EF4-FFF2-40B4-BE49-F238E27FC236}">
                    <a16:creationId xmlns:a16="http://schemas.microsoft.com/office/drawing/2014/main" id="{990AD34F-81C1-48D1-934C-ACD27BBCC60C}"/>
                  </a:ext>
                </a:extLst>
              </p:cNvPr>
              <p:cNvSpPr>
                <a:spLocks noEditPoints="1"/>
              </p:cNvSpPr>
              <p:nvPr/>
            </p:nvSpPr>
            <p:spPr bwMode="auto">
              <a:xfrm>
                <a:off x="6664325" y="4557713"/>
                <a:ext cx="285750" cy="285750"/>
              </a:xfrm>
              <a:custGeom>
                <a:avLst/>
                <a:gdLst>
                  <a:gd name="T0" fmla="*/ 90 w 180"/>
                  <a:gd name="T1" fmla="*/ 180 h 180"/>
                  <a:gd name="T2" fmla="*/ 54 w 180"/>
                  <a:gd name="T3" fmla="*/ 172 h 180"/>
                  <a:gd name="T4" fmla="*/ 26 w 180"/>
                  <a:gd name="T5" fmla="*/ 152 h 180"/>
                  <a:gd name="T6" fmla="*/ 8 w 180"/>
                  <a:gd name="T7" fmla="*/ 124 h 180"/>
                  <a:gd name="T8" fmla="*/ 0 w 180"/>
                  <a:gd name="T9" fmla="*/ 90 h 180"/>
                  <a:gd name="T10" fmla="*/ 2 w 180"/>
                  <a:gd name="T11" fmla="*/ 72 h 180"/>
                  <a:gd name="T12" fmla="*/ 16 w 180"/>
                  <a:gd name="T13" fmla="*/ 40 h 180"/>
                  <a:gd name="T14" fmla="*/ 40 w 180"/>
                  <a:gd name="T15" fmla="*/ 16 h 180"/>
                  <a:gd name="T16" fmla="*/ 72 w 180"/>
                  <a:gd name="T17" fmla="*/ 2 h 180"/>
                  <a:gd name="T18" fmla="*/ 90 w 180"/>
                  <a:gd name="T19" fmla="*/ 0 h 180"/>
                  <a:gd name="T20" fmla="*/ 124 w 180"/>
                  <a:gd name="T21" fmla="*/ 8 h 180"/>
                  <a:gd name="T22" fmla="*/ 154 w 180"/>
                  <a:gd name="T23" fmla="*/ 26 h 180"/>
                  <a:gd name="T24" fmla="*/ 172 w 180"/>
                  <a:gd name="T25" fmla="*/ 54 h 180"/>
                  <a:gd name="T26" fmla="*/ 180 w 180"/>
                  <a:gd name="T27" fmla="*/ 90 h 180"/>
                  <a:gd name="T28" fmla="*/ 178 w 180"/>
                  <a:gd name="T29" fmla="*/ 108 h 180"/>
                  <a:gd name="T30" fmla="*/ 164 w 180"/>
                  <a:gd name="T31" fmla="*/ 140 h 180"/>
                  <a:gd name="T32" fmla="*/ 140 w 180"/>
                  <a:gd name="T33" fmla="*/ 164 h 180"/>
                  <a:gd name="T34" fmla="*/ 108 w 180"/>
                  <a:gd name="T35" fmla="*/ 178 h 180"/>
                  <a:gd name="T36" fmla="*/ 90 w 180"/>
                  <a:gd name="T37" fmla="*/ 180 h 180"/>
                  <a:gd name="T38" fmla="*/ 90 w 180"/>
                  <a:gd name="T39" fmla="*/ 18 h 180"/>
                  <a:gd name="T40" fmla="*/ 62 w 180"/>
                  <a:gd name="T41" fmla="*/ 24 h 180"/>
                  <a:gd name="T42" fmla="*/ 40 w 180"/>
                  <a:gd name="T43" fmla="*/ 38 h 180"/>
                  <a:gd name="T44" fmla="*/ 24 w 180"/>
                  <a:gd name="T45" fmla="*/ 62 h 180"/>
                  <a:gd name="T46" fmla="*/ 18 w 180"/>
                  <a:gd name="T47" fmla="*/ 90 h 180"/>
                  <a:gd name="T48" fmla="*/ 20 w 180"/>
                  <a:gd name="T49" fmla="*/ 104 h 180"/>
                  <a:gd name="T50" fmla="*/ 30 w 180"/>
                  <a:gd name="T51" fmla="*/ 130 h 180"/>
                  <a:gd name="T52" fmla="*/ 50 w 180"/>
                  <a:gd name="T53" fmla="*/ 148 h 180"/>
                  <a:gd name="T54" fmla="*/ 76 w 180"/>
                  <a:gd name="T55" fmla="*/ 160 h 180"/>
                  <a:gd name="T56" fmla="*/ 90 w 180"/>
                  <a:gd name="T57" fmla="*/ 162 h 180"/>
                  <a:gd name="T58" fmla="*/ 118 w 180"/>
                  <a:gd name="T59" fmla="*/ 156 h 180"/>
                  <a:gd name="T60" fmla="*/ 140 w 180"/>
                  <a:gd name="T61" fmla="*/ 140 h 180"/>
                  <a:gd name="T62" fmla="*/ 156 w 180"/>
                  <a:gd name="T63" fmla="*/ 118 h 180"/>
                  <a:gd name="T64" fmla="*/ 162 w 180"/>
                  <a:gd name="T65" fmla="*/ 90 h 180"/>
                  <a:gd name="T66" fmla="*/ 160 w 180"/>
                  <a:gd name="T67" fmla="*/ 76 h 180"/>
                  <a:gd name="T68" fmla="*/ 150 w 180"/>
                  <a:gd name="T69" fmla="*/ 50 h 180"/>
                  <a:gd name="T70" fmla="*/ 130 w 180"/>
                  <a:gd name="T71" fmla="*/ 30 h 180"/>
                  <a:gd name="T72" fmla="*/ 104 w 180"/>
                  <a:gd name="T73" fmla="*/ 20 h 180"/>
                  <a:gd name="T74" fmla="*/ 90 w 180"/>
                  <a:gd name="T75" fmla="*/ 1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80">
                    <a:moveTo>
                      <a:pt x="90" y="180"/>
                    </a:moveTo>
                    <a:lnTo>
                      <a:pt x="90" y="180"/>
                    </a:lnTo>
                    <a:lnTo>
                      <a:pt x="72" y="178"/>
                    </a:lnTo>
                    <a:lnTo>
                      <a:pt x="54" y="172"/>
                    </a:lnTo>
                    <a:lnTo>
                      <a:pt x="40" y="164"/>
                    </a:lnTo>
                    <a:lnTo>
                      <a:pt x="26" y="152"/>
                    </a:lnTo>
                    <a:lnTo>
                      <a:pt x="16" y="140"/>
                    </a:lnTo>
                    <a:lnTo>
                      <a:pt x="8" y="124"/>
                    </a:lnTo>
                    <a:lnTo>
                      <a:pt x="2" y="108"/>
                    </a:lnTo>
                    <a:lnTo>
                      <a:pt x="0" y="90"/>
                    </a:lnTo>
                    <a:lnTo>
                      <a:pt x="0" y="90"/>
                    </a:lnTo>
                    <a:lnTo>
                      <a:pt x="2" y="72"/>
                    </a:lnTo>
                    <a:lnTo>
                      <a:pt x="8" y="54"/>
                    </a:lnTo>
                    <a:lnTo>
                      <a:pt x="16" y="40"/>
                    </a:lnTo>
                    <a:lnTo>
                      <a:pt x="26" y="26"/>
                    </a:lnTo>
                    <a:lnTo>
                      <a:pt x="40" y="16"/>
                    </a:lnTo>
                    <a:lnTo>
                      <a:pt x="54" y="8"/>
                    </a:lnTo>
                    <a:lnTo>
                      <a:pt x="72" y="2"/>
                    </a:lnTo>
                    <a:lnTo>
                      <a:pt x="90" y="0"/>
                    </a:lnTo>
                    <a:lnTo>
                      <a:pt x="90" y="0"/>
                    </a:lnTo>
                    <a:lnTo>
                      <a:pt x="108" y="2"/>
                    </a:lnTo>
                    <a:lnTo>
                      <a:pt x="124" y="8"/>
                    </a:lnTo>
                    <a:lnTo>
                      <a:pt x="140" y="16"/>
                    </a:lnTo>
                    <a:lnTo>
                      <a:pt x="154" y="26"/>
                    </a:lnTo>
                    <a:lnTo>
                      <a:pt x="164" y="40"/>
                    </a:lnTo>
                    <a:lnTo>
                      <a:pt x="172" y="54"/>
                    </a:lnTo>
                    <a:lnTo>
                      <a:pt x="178" y="72"/>
                    </a:lnTo>
                    <a:lnTo>
                      <a:pt x="180" y="90"/>
                    </a:lnTo>
                    <a:lnTo>
                      <a:pt x="180" y="90"/>
                    </a:lnTo>
                    <a:lnTo>
                      <a:pt x="178" y="108"/>
                    </a:lnTo>
                    <a:lnTo>
                      <a:pt x="172" y="124"/>
                    </a:lnTo>
                    <a:lnTo>
                      <a:pt x="164" y="140"/>
                    </a:lnTo>
                    <a:lnTo>
                      <a:pt x="154" y="152"/>
                    </a:lnTo>
                    <a:lnTo>
                      <a:pt x="140" y="164"/>
                    </a:lnTo>
                    <a:lnTo>
                      <a:pt x="124" y="172"/>
                    </a:lnTo>
                    <a:lnTo>
                      <a:pt x="108" y="178"/>
                    </a:lnTo>
                    <a:lnTo>
                      <a:pt x="90" y="180"/>
                    </a:lnTo>
                    <a:lnTo>
                      <a:pt x="90" y="180"/>
                    </a:lnTo>
                    <a:close/>
                    <a:moveTo>
                      <a:pt x="90" y="18"/>
                    </a:moveTo>
                    <a:lnTo>
                      <a:pt x="90" y="18"/>
                    </a:lnTo>
                    <a:lnTo>
                      <a:pt x="76" y="20"/>
                    </a:lnTo>
                    <a:lnTo>
                      <a:pt x="62" y="24"/>
                    </a:lnTo>
                    <a:lnTo>
                      <a:pt x="50" y="30"/>
                    </a:lnTo>
                    <a:lnTo>
                      <a:pt x="40" y="38"/>
                    </a:lnTo>
                    <a:lnTo>
                      <a:pt x="30" y="50"/>
                    </a:lnTo>
                    <a:lnTo>
                      <a:pt x="24" y="62"/>
                    </a:lnTo>
                    <a:lnTo>
                      <a:pt x="20" y="76"/>
                    </a:lnTo>
                    <a:lnTo>
                      <a:pt x="18" y="90"/>
                    </a:lnTo>
                    <a:lnTo>
                      <a:pt x="18" y="90"/>
                    </a:lnTo>
                    <a:lnTo>
                      <a:pt x="20" y="104"/>
                    </a:lnTo>
                    <a:lnTo>
                      <a:pt x="24" y="118"/>
                    </a:lnTo>
                    <a:lnTo>
                      <a:pt x="30" y="130"/>
                    </a:lnTo>
                    <a:lnTo>
                      <a:pt x="40" y="140"/>
                    </a:lnTo>
                    <a:lnTo>
                      <a:pt x="50" y="148"/>
                    </a:lnTo>
                    <a:lnTo>
                      <a:pt x="62" y="156"/>
                    </a:lnTo>
                    <a:lnTo>
                      <a:pt x="76" y="160"/>
                    </a:lnTo>
                    <a:lnTo>
                      <a:pt x="90" y="162"/>
                    </a:lnTo>
                    <a:lnTo>
                      <a:pt x="90" y="162"/>
                    </a:lnTo>
                    <a:lnTo>
                      <a:pt x="104" y="160"/>
                    </a:lnTo>
                    <a:lnTo>
                      <a:pt x="118" y="156"/>
                    </a:lnTo>
                    <a:lnTo>
                      <a:pt x="130" y="148"/>
                    </a:lnTo>
                    <a:lnTo>
                      <a:pt x="140" y="140"/>
                    </a:lnTo>
                    <a:lnTo>
                      <a:pt x="150" y="130"/>
                    </a:lnTo>
                    <a:lnTo>
                      <a:pt x="156" y="118"/>
                    </a:lnTo>
                    <a:lnTo>
                      <a:pt x="160" y="104"/>
                    </a:lnTo>
                    <a:lnTo>
                      <a:pt x="162" y="90"/>
                    </a:lnTo>
                    <a:lnTo>
                      <a:pt x="162" y="90"/>
                    </a:lnTo>
                    <a:lnTo>
                      <a:pt x="160" y="76"/>
                    </a:lnTo>
                    <a:lnTo>
                      <a:pt x="156" y="62"/>
                    </a:lnTo>
                    <a:lnTo>
                      <a:pt x="150" y="50"/>
                    </a:lnTo>
                    <a:lnTo>
                      <a:pt x="140" y="38"/>
                    </a:lnTo>
                    <a:lnTo>
                      <a:pt x="130" y="30"/>
                    </a:lnTo>
                    <a:lnTo>
                      <a:pt x="118" y="24"/>
                    </a:lnTo>
                    <a:lnTo>
                      <a:pt x="104" y="20"/>
                    </a:lnTo>
                    <a:lnTo>
                      <a:pt x="90" y="18"/>
                    </a:lnTo>
                    <a:lnTo>
                      <a:pt x="90"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44">
                <a:extLst>
                  <a:ext uri="{FF2B5EF4-FFF2-40B4-BE49-F238E27FC236}">
                    <a16:creationId xmlns:a16="http://schemas.microsoft.com/office/drawing/2014/main" id="{896626F6-BF4A-4AE0-9DE4-444BE8E89AA5}"/>
                  </a:ext>
                </a:extLst>
              </p:cNvPr>
              <p:cNvSpPr>
                <a:spLocks noEditPoints="1"/>
              </p:cNvSpPr>
              <p:nvPr/>
            </p:nvSpPr>
            <p:spPr bwMode="auto">
              <a:xfrm>
                <a:off x="6461125" y="4068763"/>
                <a:ext cx="209550" cy="209550"/>
              </a:xfrm>
              <a:custGeom>
                <a:avLst/>
                <a:gdLst>
                  <a:gd name="T0" fmla="*/ 66 w 132"/>
                  <a:gd name="T1" fmla="*/ 132 h 132"/>
                  <a:gd name="T2" fmla="*/ 40 w 132"/>
                  <a:gd name="T3" fmla="*/ 128 h 132"/>
                  <a:gd name="T4" fmla="*/ 20 w 132"/>
                  <a:gd name="T5" fmla="*/ 114 h 132"/>
                  <a:gd name="T6" fmla="*/ 6 w 132"/>
                  <a:gd name="T7" fmla="*/ 92 h 132"/>
                  <a:gd name="T8" fmla="*/ 0 w 132"/>
                  <a:gd name="T9" fmla="*/ 66 h 132"/>
                  <a:gd name="T10" fmla="*/ 2 w 132"/>
                  <a:gd name="T11" fmla="*/ 54 h 132"/>
                  <a:gd name="T12" fmla="*/ 12 w 132"/>
                  <a:gd name="T13" fmla="*/ 30 h 132"/>
                  <a:gd name="T14" fmla="*/ 30 w 132"/>
                  <a:gd name="T15" fmla="*/ 12 h 132"/>
                  <a:gd name="T16" fmla="*/ 52 w 132"/>
                  <a:gd name="T17" fmla="*/ 2 h 132"/>
                  <a:gd name="T18" fmla="*/ 66 w 132"/>
                  <a:gd name="T19" fmla="*/ 0 h 132"/>
                  <a:gd name="T20" fmla="*/ 92 w 132"/>
                  <a:gd name="T21" fmla="*/ 6 h 132"/>
                  <a:gd name="T22" fmla="*/ 112 w 132"/>
                  <a:gd name="T23" fmla="*/ 20 h 132"/>
                  <a:gd name="T24" fmla="*/ 126 w 132"/>
                  <a:gd name="T25" fmla="*/ 42 h 132"/>
                  <a:gd name="T26" fmla="*/ 132 w 132"/>
                  <a:gd name="T27" fmla="*/ 66 h 132"/>
                  <a:gd name="T28" fmla="*/ 130 w 132"/>
                  <a:gd name="T29" fmla="*/ 80 h 132"/>
                  <a:gd name="T30" fmla="*/ 120 w 132"/>
                  <a:gd name="T31" fmla="*/ 104 h 132"/>
                  <a:gd name="T32" fmla="*/ 102 w 132"/>
                  <a:gd name="T33" fmla="*/ 122 h 132"/>
                  <a:gd name="T34" fmla="*/ 80 w 132"/>
                  <a:gd name="T35" fmla="*/ 132 h 132"/>
                  <a:gd name="T36" fmla="*/ 66 w 132"/>
                  <a:gd name="T37" fmla="*/ 132 h 132"/>
                  <a:gd name="T38" fmla="*/ 66 w 132"/>
                  <a:gd name="T39" fmla="*/ 18 h 132"/>
                  <a:gd name="T40" fmla="*/ 48 w 132"/>
                  <a:gd name="T41" fmla="*/ 22 h 132"/>
                  <a:gd name="T42" fmla="*/ 32 w 132"/>
                  <a:gd name="T43" fmla="*/ 34 h 132"/>
                  <a:gd name="T44" fmla="*/ 22 w 132"/>
                  <a:gd name="T45" fmla="*/ 48 h 132"/>
                  <a:gd name="T46" fmla="*/ 18 w 132"/>
                  <a:gd name="T47" fmla="*/ 66 h 132"/>
                  <a:gd name="T48" fmla="*/ 20 w 132"/>
                  <a:gd name="T49" fmla="*/ 76 h 132"/>
                  <a:gd name="T50" fmla="*/ 26 w 132"/>
                  <a:gd name="T51" fmla="*/ 94 h 132"/>
                  <a:gd name="T52" fmla="*/ 40 w 132"/>
                  <a:gd name="T53" fmla="*/ 106 h 132"/>
                  <a:gd name="T54" fmla="*/ 56 w 132"/>
                  <a:gd name="T55" fmla="*/ 114 h 132"/>
                  <a:gd name="T56" fmla="*/ 66 w 132"/>
                  <a:gd name="T57" fmla="*/ 114 h 132"/>
                  <a:gd name="T58" fmla="*/ 84 w 132"/>
                  <a:gd name="T59" fmla="*/ 110 h 132"/>
                  <a:gd name="T60" fmla="*/ 100 w 132"/>
                  <a:gd name="T61" fmla="*/ 100 h 132"/>
                  <a:gd name="T62" fmla="*/ 110 w 132"/>
                  <a:gd name="T63" fmla="*/ 86 h 132"/>
                  <a:gd name="T64" fmla="*/ 114 w 132"/>
                  <a:gd name="T65" fmla="*/ 66 h 132"/>
                  <a:gd name="T66" fmla="*/ 112 w 132"/>
                  <a:gd name="T67" fmla="*/ 58 h 132"/>
                  <a:gd name="T68" fmla="*/ 106 w 132"/>
                  <a:gd name="T69" fmla="*/ 40 h 132"/>
                  <a:gd name="T70" fmla="*/ 92 w 132"/>
                  <a:gd name="T71" fmla="*/ 28 h 132"/>
                  <a:gd name="T72" fmla="*/ 76 w 132"/>
                  <a:gd name="T73" fmla="*/ 20 h 132"/>
                  <a:gd name="T74" fmla="*/ 66 w 132"/>
                  <a:gd name="T75" fmla="*/ 1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2">
                    <a:moveTo>
                      <a:pt x="66" y="132"/>
                    </a:moveTo>
                    <a:lnTo>
                      <a:pt x="66" y="132"/>
                    </a:lnTo>
                    <a:lnTo>
                      <a:pt x="52" y="132"/>
                    </a:lnTo>
                    <a:lnTo>
                      <a:pt x="40" y="128"/>
                    </a:lnTo>
                    <a:lnTo>
                      <a:pt x="30" y="122"/>
                    </a:lnTo>
                    <a:lnTo>
                      <a:pt x="20" y="114"/>
                    </a:lnTo>
                    <a:lnTo>
                      <a:pt x="12" y="104"/>
                    </a:lnTo>
                    <a:lnTo>
                      <a:pt x="6" y="92"/>
                    </a:lnTo>
                    <a:lnTo>
                      <a:pt x="2" y="80"/>
                    </a:lnTo>
                    <a:lnTo>
                      <a:pt x="0" y="66"/>
                    </a:lnTo>
                    <a:lnTo>
                      <a:pt x="0" y="66"/>
                    </a:lnTo>
                    <a:lnTo>
                      <a:pt x="2" y="54"/>
                    </a:lnTo>
                    <a:lnTo>
                      <a:pt x="6" y="42"/>
                    </a:lnTo>
                    <a:lnTo>
                      <a:pt x="12" y="30"/>
                    </a:lnTo>
                    <a:lnTo>
                      <a:pt x="20" y="20"/>
                    </a:lnTo>
                    <a:lnTo>
                      <a:pt x="30" y="12"/>
                    </a:lnTo>
                    <a:lnTo>
                      <a:pt x="40" y="6"/>
                    </a:lnTo>
                    <a:lnTo>
                      <a:pt x="52" y="2"/>
                    </a:lnTo>
                    <a:lnTo>
                      <a:pt x="66" y="0"/>
                    </a:lnTo>
                    <a:lnTo>
                      <a:pt x="66" y="0"/>
                    </a:lnTo>
                    <a:lnTo>
                      <a:pt x="80" y="2"/>
                    </a:lnTo>
                    <a:lnTo>
                      <a:pt x="92" y="6"/>
                    </a:lnTo>
                    <a:lnTo>
                      <a:pt x="102" y="12"/>
                    </a:lnTo>
                    <a:lnTo>
                      <a:pt x="112" y="20"/>
                    </a:lnTo>
                    <a:lnTo>
                      <a:pt x="120" y="30"/>
                    </a:lnTo>
                    <a:lnTo>
                      <a:pt x="126" y="42"/>
                    </a:lnTo>
                    <a:lnTo>
                      <a:pt x="130" y="54"/>
                    </a:lnTo>
                    <a:lnTo>
                      <a:pt x="132" y="66"/>
                    </a:lnTo>
                    <a:lnTo>
                      <a:pt x="132" y="66"/>
                    </a:lnTo>
                    <a:lnTo>
                      <a:pt x="130" y="80"/>
                    </a:lnTo>
                    <a:lnTo>
                      <a:pt x="126" y="92"/>
                    </a:lnTo>
                    <a:lnTo>
                      <a:pt x="120" y="104"/>
                    </a:lnTo>
                    <a:lnTo>
                      <a:pt x="112" y="114"/>
                    </a:lnTo>
                    <a:lnTo>
                      <a:pt x="102" y="122"/>
                    </a:lnTo>
                    <a:lnTo>
                      <a:pt x="92" y="128"/>
                    </a:lnTo>
                    <a:lnTo>
                      <a:pt x="80" y="132"/>
                    </a:lnTo>
                    <a:lnTo>
                      <a:pt x="66" y="132"/>
                    </a:lnTo>
                    <a:lnTo>
                      <a:pt x="66" y="132"/>
                    </a:lnTo>
                    <a:close/>
                    <a:moveTo>
                      <a:pt x="66" y="18"/>
                    </a:moveTo>
                    <a:lnTo>
                      <a:pt x="66" y="18"/>
                    </a:lnTo>
                    <a:lnTo>
                      <a:pt x="56" y="20"/>
                    </a:lnTo>
                    <a:lnTo>
                      <a:pt x="48" y="22"/>
                    </a:lnTo>
                    <a:lnTo>
                      <a:pt x="40" y="28"/>
                    </a:lnTo>
                    <a:lnTo>
                      <a:pt x="32" y="34"/>
                    </a:lnTo>
                    <a:lnTo>
                      <a:pt x="26" y="40"/>
                    </a:lnTo>
                    <a:lnTo>
                      <a:pt x="22" y="48"/>
                    </a:lnTo>
                    <a:lnTo>
                      <a:pt x="20" y="58"/>
                    </a:lnTo>
                    <a:lnTo>
                      <a:pt x="18" y="66"/>
                    </a:lnTo>
                    <a:lnTo>
                      <a:pt x="18" y="66"/>
                    </a:lnTo>
                    <a:lnTo>
                      <a:pt x="20" y="76"/>
                    </a:lnTo>
                    <a:lnTo>
                      <a:pt x="22" y="86"/>
                    </a:lnTo>
                    <a:lnTo>
                      <a:pt x="26" y="94"/>
                    </a:lnTo>
                    <a:lnTo>
                      <a:pt x="32" y="100"/>
                    </a:lnTo>
                    <a:lnTo>
                      <a:pt x="40" y="106"/>
                    </a:lnTo>
                    <a:lnTo>
                      <a:pt x="48" y="110"/>
                    </a:lnTo>
                    <a:lnTo>
                      <a:pt x="56" y="114"/>
                    </a:lnTo>
                    <a:lnTo>
                      <a:pt x="66" y="114"/>
                    </a:lnTo>
                    <a:lnTo>
                      <a:pt x="66" y="114"/>
                    </a:lnTo>
                    <a:lnTo>
                      <a:pt x="76" y="114"/>
                    </a:lnTo>
                    <a:lnTo>
                      <a:pt x="84" y="110"/>
                    </a:lnTo>
                    <a:lnTo>
                      <a:pt x="92" y="106"/>
                    </a:lnTo>
                    <a:lnTo>
                      <a:pt x="100" y="100"/>
                    </a:lnTo>
                    <a:lnTo>
                      <a:pt x="106" y="94"/>
                    </a:lnTo>
                    <a:lnTo>
                      <a:pt x="110" y="86"/>
                    </a:lnTo>
                    <a:lnTo>
                      <a:pt x="112" y="76"/>
                    </a:lnTo>
                    <a:lnTo>
                      <a:pt x="114" y="66"/>
                    </a:lnTo>
                    <a:lnTo>
                      <a:pt x="114" y="66"/>
                    </a:lnTo>
                    <a:lnTo>
                      <a:pt x="112" y="58"/>
                    </a:lnTo>
                    <a:lnTo>
                      <a:pt x="110" y="48"/>
                    </a:lnTo>
                    <a:lnTo>
                      <a:pt x="106" y="40"/>
                    </a:lnTo>
                    <a:lnTo>
                      <a:pt x="100" y="34"/>
                    </a:lnTo>
                    <a:lnTo>
                      <a:pt x="92" y="28"/>
                    </a:lnTo>
                    <a:lnTo>
                      <a:pt x="84" y="22"/>
                    </a:lnTo>
                    <a:lnTo>
                      <a:pt x="76" y="20"/>
                    </a:lnTo>
                    <a:lnTo>
                      <a:pt x="66" y="18"/>
                    </a:lnTo>
                    <a:lnTo>
                      <a:pt x="66"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45">
                <a:extLst>
                  <a:ext uri="{FF2B5EF4-FFF2-40B4-BE49-F238E27FC236}">
                    <a16:creationId xmlns:a16="http://schemas.microsoft.com/office/drawing/2014/main" id="{84BBBF74-7115-4677-A388-7B91EBC37D5B}"/>
                  </a:ext>
                </a:extLst>
              </p:cNvPr>
              <p:cNvSpPr>
                <a:spLocks noEditPoints="1"/>
              </p:cNvSpPr>
              <p:nvPr/>
            </p:nvSpPr>
            <p:spPr bwMode="auto">
              <a:xfrm>
                <a:off x="5794375" y="5011738"/>
                <a:ext cx="260350" cy="260350"/>
              </a:xfrm>
              <a:custGeom>
                <a:avLst/>
                <a:gdLst>
                  <a:gd name="T0" fmla="*/ 82 w 164"/>
                  <a:gd name="T1" fmla="*/ 164 h 164"/>
                  <a:gd name="T2" fmla="*/ 50 w 164"/>
                  <a:gd name="T3" fmla="*/ 158 h 164"/>
                  <a:gd name="T4" fmla="*/ 24 w 164"/>
                  <a:gd name="T5" fmla="*/ 140 h 164"/>
                  <a:gd name="T6" fmla="*/ 6 w 164"/>
                  <a:gd name="T7" fmla="*/ 114 h 164"/>
                  <a:gd name="T8" fmla="*/ 0 w 164"/>
                  <a:gd name="T9" fmla="*/ 82 h 164"/>
                  <a:gd name="T10" fmla="*/ 2 w 164"/>
                  <a:gd name="T11" fmla="*/ 66 h 164"/>
                  <a:gd name="T12" fmla="*/ 14 w 164"/>
                  <a:gd name="T13" fmla="*/ 36 h 164"/>
                  <a:gd name="T14" fmla="*/ 36 w 164"/>
                  <a:gd name="T15" fmla="*/ 14 h 164"/>
                  <a:gd name="T16" fmla="*/ 66 w 164"/>
                  <a:gd name="T17" fmla="*/ 2 h 164"/>
                  <a:gd name="T18" fmla="*/ 82 w 164"/>
                  <a:gd name="T19" fmla="*/ 0 h 164"/>
                  <a:gd name="T20" fmla="*/ 114 w 164"/>
                  <a:gd name="T21" fmla="*/ 8 h 164"/>
                  <a:gd name="T22" fmla="*/ 140 w 164"/>
                  <a:gd name="T23" fmla="*/ 24 h 164"/>
                  <a:gd name="T24" fmla="*/ 158 w 164"/>
                  <a:gd name="T25" fmla="*/ 50 h 164"/>
                  <a:gd name="T26" fmla="*/ 164 w 164"/>
                  <a:gd name="T27" fmla="*/ 82 h 164"/>
                  <a:gd name="T28" fmla="*/ 162 w 164"/>
                  <a:gd name="T29" fmla="*/ 100 h 164"/>
                  <a:gd name="T30" fmla="*/ 150 w 164"/>
                  <a:gd name="T31" fmla="*/ 128 h 164"/>
                  <a:gd name="T32" fmla="*/ 128 w 164"/>
                  <a:gd name="T33" fmla="*/ 150 h 164"/>
                  <a:gd name="T34" fmla="*/ 98 w 164"/>
                  <a:gd name="T35" fmla="*/ 162 h 164"/>
                  <a:gd name="T36" fmla="*/ 82 w 164"/>
                  <a:gd name="T37" fmla="*/ 164 h 164"/>
                  <a:gd name="T38" fmla="*/ 82 w 164"/>
                  <a:gd name="T39" fmla="*/ 18 h 164"/>
                  <a:gd name="T40" fmla="*/ 58 w 164"/>
                  <a:gd name="T41" fmla="*/ 24 h 164"/>
                  <a:gd name="T42" fmla="*/ 38 w 164"/>
                  <a:gd name="T43" fmla="*/ 38 h 164"/>
                  <a:gd name="T44" fmla="*/ 24 w 164"/>
                  <a:gd name="T45" fmla="*/ 58 h 164"/>
                  <a:gd name="T46" fmla="*/ 18 w 164"/>
                  <a:gd name="T47" fmla="*/ 82 h 164"/>
                  <a:gd name="T48" fmla="*/ 20 w 164"/>
                  <a:gd name="T49" fmla="*/ 96 h 164"/>
                  <a:gd name="T50" fmla="*/ 30 w 164"/>
                  <a:gd name="T51" fmla="*/ 118 h 164"/>
                  <a:gd name="T52" fmla="*/ 46 w 164"/>
                  <a:gd name="T53" fmla="*/ 136 h 164"/>
                  <a:gd name="T54" fmla="*/ 70 w 164"/>
                  <a:gd name="T55" fmla="*/ 146 h 164"/>
                  <a:gd name="T56" fmla="*/ 82 w 164"/>
                  <a:gd name="T57" fmla="*/ 146 h 164"/>
                  <a:gd name="T58" fmla="*/ 108 w 164"/>
                  <a:gd name="T59" fmla="*/ 142 h 164"/>
                  <a:gd name="T60" fmla="*/ 128 w 164"/>
                  <a:gd name="T61" fmla="*/ 128 h 164"/>
                  <a:gd name="T62" fmla="*/ 140 w 164"/>
                  <a:gd name="T63" fmla="*/ 108 h 164"/>
                  <a:gd name="T64" fmla="*/ 146 w 164"/>
                  <a:gd name="T65" fmla="*/ 82 h 164"/>
                  <a:gd name="T66" fmla="*/ 144 w 164"/>
                  <a:gd name="T67" fmla="*/ 70 h 164"/>
                  <a:gd name="T68" fmla="*/ 136 w 164"/>
                  <a:gd name="T69" fmla="*/ 48 h 164"/>
                  <a:gd name="T70" fmla="*/ 118 w 164"/>
                  <a:gd name="T71" fmla="*/ 30 h 164"/>
                  <a:gd name="T72" fmla="*/ 96 w 164"/>
                  <a:gd name="T73" fmla="*/ 20 h 164"/>
                  <a:gd name="T74" fmla="*/ 82 w 164"/>
                  <a:gd name="T75" fmla="*/ 1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164">
                    <a:moveTo>
                      <a:pt x="82" y="164"/>
                    </a:moveTo>
                    <a:lnTo>
                      <a:pt x="82" y="164"/>
                    </a:lnTo>
                    <a:lnTo>
                      <a:pt x="66" y="162"/>
                    </a:lnTo>
                    <a:lnTo>
                      <a:pt x="50" y="158"/>
                    </a:lnTo>
                    <a:lnTo>
                      <a:pt x="36" y="150"/>
                    </a:lnTo>
                    <a:lnTo>
                      <a:pt x="24" y="140"/>
                    </a:lnTo>
                    <a:lnTo>
                      <a:pt x="14" y="128"/>
                    </a:lnTo>
                    <a:lnTo>
                      <a:pt x="6" y="114"/>
                    </a:lnTo>
                    <a:lnTo>
                      <a:pt x="2" y="100"/>
                    </a:lnTo>
                    <a:lnTo>
                      <a:pt x="0" y="82"/>
                    </a:lnTo>
                    <a:lnTo>
                      <a:pt x="0" y="82"/>
                    </a:lnTo>
                    <a:lnTo>
                      <a:pt x="2" y="66"/>
                    </a:lnTo>
                    <a:lnTo>
                      <a:pt x="6" y="50"/>
                    </a:lnTo>
                    <a:lnTo>
                      <a:pt x="14" y="36"/>
                    </a:lnTo>
                    <a:lnTo>
                      <a:pt x="24" y="24"/>
                    </a:lnTo>
                    <a:lnTo>
                      <a:pt x="36" y="14"/>
                    </a:lnTo>
                    <a:lnTo>
                      <a:pt x="50" y="8"/>
                    </a:lnTo>
                    <a:lnTo>
                      <a:pt x="66" y="2"/>
                    </a:lnTo>
                    <a:lnTo>
                      <a:pt x="82" y="0"/>
                    </a:lnTo>
                    <a:lnTo>
                      <a:pt x="82" y="0"/>
                    </a:lnTo>
                    <a:lnTo>
                      <a:pt x="98" y="2"/>
                    </a:lnTo>
                    <a:lnTo>
                      <a:pt x="114" y="8"/>
                    </a:lnTo>
                    <a:lnTo>
                      <a:pt x="128" y="14"/>
                    </a:lnTo>
                    <a:lnTo>
                      <a:pt x="140" y="24"/>
                    </a:lnTo>
                    <a:lnTo>
                      <a:pt x="150" y="36"/>
                    </a:lnTo>
                    <a:lnTo>
                      <a:pt x="158" y="50"/>
                    </a:lnTo>
                    <a:lnTo>
                      <a:pt x="162" y="66"/>
                    </a:lnTo>
                    <a:lnTo>
                      <a:pt x="164" y="82"/>
                    </a:lnTo>
                    <a:lnTo>
                      <a:pt x="164" y="82"/>
                    </a:lnTo>
                    <a:lnTo>
                      <a:pt x="162" y="100"/>
                    </a:lnTo>
                    <a:lnTo>
                      <a:pt x="158" y="114"/>
                    </a:lnTo>
                    <a:lnTo>
                      <a:pt x="150" y="128"/>
                    </a:lnTo>
                    <a:lnTo>
                      <a:pt x="140" y="140"/>
                    </a:lnTo>
                    <a:lnTo>
                      <a:pt x="128" y="150"/>
                    </a:lnTo>
                    <a:lnTo>
                      <a:pt x="114" y="158"/>
                    </a:lnTo>
                    <a:lnTo>
                      <a:pt x="98" y="162"/>
                    </a:lnTo>
                    <a:lnTo>
                      <a:pt x="82" y="164"/>
                    </a:lnTo>
                    <a:lnTo>
                      <a:pt x="82" y="164"/>
                    </a:lnTo>
                    <a:close/>
                    <a:moveTo>
                      <a:pt x="82" y="18"/>
                    </a:moveTo>
                    <a:lnTo>
                      <a:pt x="82" y="18"/>
                    </a:lnTo>
                    <a:lnTo>
                      <a:pt x="70" y="20"/>
                    </a:lnTo>
                    <a:lnTo>
                      <a:pt x="58" y="24"/>
                    </a:lnTo>
                    <a:lnTo>
                      <a:pt x="46" y="30"/>
                    </a:lnTo>
                    <a:lnTo>
                      <a:pt x="38" y="38"/>
                    </a:lnTo>
                    <a:lnTo>
                      <a:pt x="30" y="48"/>
                    </a:lnTo>
                    <a:lnTo>
                      <a:pt x="24" y="58"/>
                    </a:lnTo>
                    <a:lnTo>
                      <a:pt x="20" y="70"/>
                    </a:lnTo>
                    <a:lnTo>
                      <a:pt x="18" y="82"/>
                    </a:lnTo>
                    <a:lnTo>
                      <a:pt x="18" y="82"/>
                    </a:lnTo>
                    <a:lnTo>
                      <a:pt x="20" y="96"/>
                    </a:lnTo>
                    <a:lnTo>
                      <a:pt x="24" y="108"/>
                    </a:lnTo>
                    <a:lnTo>
                      <a:pt x="30" y="118"/>
                    </a:lnTo>
                    <a:lnTo>
                      <a:pt x="38" y="128"/>
                    </a:lnTo>
                    <a:lnTo>
                      <a:pt x="46" y="136"/>
                    </a:lnTo>
                    <a:lnTo>
                      <a:pt x="58" y="142"/>
                    </a:lnTo>
                    <a:lnTo>
                      <a:pt x="70" y="146"/>
                    </a:lnTo>
                    <a:lnTo>
                      <a:pt x="82" y="146"/>
                    </a:lnTo>
                    <a:lnTo>
                      <a:pt x="82" y="146"/>
                    </a:lnTo>
                    <a:lnTo>
                      <a:pt x="96" y="146"/>
                    </a:lnTo>
                    <a:lnTo>
                      <a:pt x="108" y="142"/>
                    </a:lnTo>
                    <a:lnTo>
                      <a:pt x="118" y="136"/>
                    </a:lnTo>
                    <a:lnTo>
                      <a:pt x="128" y="128"/>
                    </a:lnTo>
                    <a:lnTo>
                      <a:pt x="136" y="118"/>
                    </a:lnTo>
                    <a:lnTo>
                      <a:pt x="140" y="108"/>
                    </a:lnTo>
                    <a:lnTo>
                      <a:pt x="144" y="96"/>
                    </a:lnTo>
                    <a:lnTo>
                      <a:pt x="146" y="82"/>
                    </a:lnTo>
                    <a:lnTo>
                      <a:pt x="146" y="82"/>
                    </a:lnTo>
                    <a:lnTo>
                      <a:pt x="144" y="70"/>
                    </a:lnTo>
                    <a:lnTo>
                      <a:pt x="140" y="58"/>
                    </a:lnTo>
                    <a:lnTo>
                      <a:pt x="136" y="48"/>
                    </a:lnTo>
                    <a:lnTo>
                      <a:pt x="128" y="38"/>
                    </a:lnTo>
                    <a:lnTo>
                      <a:pt x="118" y="30"/>
                    </a:lnTo>
                    <a:lnTo>
                      <a:pt x="108" y="24"/>
                    </a:lnTo>
                    <a:lnTo>
                      <a:pt x="96" y="20"/>
                    </a:lnTo>
                    <a:lnTo>
                      <a:pt x="82" y="18"/>
                    </a:lnTo>
                    <a:lnTo>
                      <a:pt x="82"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46">
                <a:extLst>
                  <a:ext uri="{FF2B5EF4-FFF2-40B4-BE49-F238E27FC236}">
                    <a16:creationId xmlns:a16="http://schemas.microsoft.com/office/drawing/2014/main" id="{4D8D4A21-667C-4024-9F56-F92784A28D93}"/>
                  </a:ext>
                </a:extLst>
              </p:cNvPr>
              <p:cNvSpPr>
                <a:spLocks noEditPoints="1"/>
              </p:cNvSpPr>
              <p:nvPr/>
            </p:nvSpPr>
            <p:spPr bwMode="auto">
              <a:xfrm>
                <a:off x="5695950" y="4319588"/>
                <a:ext cx="209550" cy="209550"/>
              </a:xfrm>
              <a:custGeom>
                <a:avLst/>
                <a:gdLst>
                  <a:gd name="T0" fmla="*/ 66 w 132"/>
                  <a:gd name="T1" fmla="*/ 132 h 132"/>
                  <a:gd name="T2" fmla="*/ 40 w 132"/>
                  <a:gd name="T3" fmla="*/ 128 h 132"/>
                  <a:gd name="T4" fmla="*/ 20 w 132"/>
                  <a:gd name="T5" fmla="*/ 112 h 132"/>
                  <a:gd name="T6" fmla="*/ 6 w 132"/>
                  <a:gd name="T7" fmla="*/ 92 h 132"/>
                  <a:gd name="T8" fmla="*/ 0 w 132"/>
                  <a:gd name="T9" fmla="*/ 66 h 132"/>
                  <a:gd name="T10" fmla="*/ 2 w 132"/>
                  <a:gd name="T11" fmla="*/ 54 h 132"/>
                  <a:gd name="T12" fmla="*/ 12 w 132"/>
                  <a:gd name="T13" fmla="*/ 30 h 132"/>
                  <a:gd name="T14" fmla="*/ 30 w 132"/>
                  <a:gd name="T15" fmla="*/ 12 h 132"/>
                  <a:gd name="T16" fmla="*/ 52 w 132"/>
                  <a:gd name="T17" fmla="*/ 2 h 132"/>
                  <a:gd name="T18" fmla="*/ 66 w 132"/>
                  <a:gd name="T19" fmla="*/ 0 h 132"/>
                  <a:gd name="T20" fmla="*/ 92 w 132"/>
                  <a:gd name="T21" fmla="*/ 6 h 132"/>
                  <a:gd name="T22" fmla="*/ 112 w 132"/>
                  <a:gd name="T23" fmla="*/ 20 h 132"/>
                  <a:gd name="T24" fmla="*/ 126 w 132"/>
                  <a:gd name="T25" fmla="*/ 40 h 132"/>
                  <a:gd name="T26" fmla="*/ 132 w 132"/>
                  <a:gd name="T27" fmla="*/ 66 h 132"/>
                  <a:gd name="T28" fmla="*/ 130 w 132"/>
                  <a:gd name="T29" fmla="*/ 80 h 132"/>
                  <a:gd name="T30" fmla="*/ 120 w 132"/>
                  <a:gd name="T31" fmla="*/ 104 h 132"/>
                  <a:gd name="T32" fmla="*/ 102 w 132"/>
                  <a:gd name="T33" fmla="*/ 122 h 132"/>
                  <a:gd name="T34" fmla="*/ 80 w 132"/>
                  <a:gd name="T35" fmla="*/ 130 h 132"/>
                  <a:gd name="T36" fmla="*/ 66 w 132"/>
                  <a:gd name="T37" fmla="*/ 132 h 132"/>
                  <a:gd name="T38" fmla="*/ 66 w 132"/>
                  <a:gd name="T39" fmla="*/ 18 h 132"/>
                  <a:gd name="T40" fmla="*/ 48 w 132"/>
                  <a:gd name="T41" fmla="*/ 22 h 132"/>
                  <a:gd name="T42" fmla="*/ 32 w 132"/>
                  <a:gd name="T43" fmla="*/ 32 h 132"/>
                  <a:gd name="T44" fmla="*/ 22 w 132"/>
                  <a:gd name="T45" fmla="*/ 48 h 132"/>
                  <a:gd name="T46" fmla="*/ 18 w 132"/>
                  <a:gd name="T47" fmla="*/ 66 h 132"/>
                  <a:gd name="T48" fmla="*/ 20 w 132"/>
                  <a:gd name="T49" fmla="*/ 76 h 132"/>
                  <a:gd name="T50" fmla="*/ 26 w 132"/>
                  <a:gd name="T51" fmla="*/ 94 h 132"/>
                  <a:gd name="T52" fmla="*/ 40 w 132"/>
                  <a:gd name="T53" fmla="*/ 106 h 132"/>
                  <a:gd name="T54" fmla="*/ 56 w 132"/>
                  <a:gd name="T55" fmla="*/ 114 h 132"/>
                  <a:gd name="T56" fmla="*/ 66 w 132"/>
                  <a:gd name="T57" fmla="*/ 114 h 132"/>
                  <a:gd name="T58" fmla="*/ 84 w 132"/>
                  <a:gd name="T59" fmla="*/ 110 h 132"/>
                  <a:gd name="T60" fmla="*/ 100 w 132"/>
                  <a:gd name="T61" fmla="*/ 100 h 132"/>
                  <a:gd name="T62" fmla="*/ 110 w 132"/>
                  <a:gd name="T63" fmla="*/ 86 h 132"/>
                  <a:gd name="T64" fmla="*/ 114 w 132"/>
                  <a:gd name="T65" fmla="*/ 66 h 132"/>
                  <a:gd name="T66" fmla="*/ 112 w 132"/>
                  <a:gd name="T67" fmla="*/ 56 h 132"/>
                  <a:gd name="T68" fmla="*/ 106 w 132"/>
                  <a:gd name="T69" fmla="*/ 40 h 132"/>
                  <a:gd name="T70" fmla="*/ 92 w 132"/>
                  <a:gd name="T71" fmla="*/ 26 h 132"/>
                  <a:gd name="T72" fmla="*/ 76 w 132"/>
                  <a:gd name="T73" fmla="*/ 20 h 132"/>
                  <a:gd name="T74" fmla="*/ 66 w 132"/>
                  <a:gd name="T75" fmla="*/ 1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2">
                    <a:moveTo>
                      <a:pt x="66" y="132"/>
                    </a:moveTo>
                    <a:lnTo>
                      <a:pt x="66" y="132"/>
                    </a:lnTo>
                    <a:lnTo>
                      <a:pt x="52" y="130"/>
                    </a:lnTo>
                    <a:lnTo>
                      <a:pt x="40" y="128"/>
                    </a:lnTo>
                    <a:lnTo>
                      <a:pt x="30" y="122"/>
                    </a:lnTo>
                    <a:lnTo>
                      <a:pt x="20" y="112"/>
                    </a:lnTo>
                    <a:lnTo>
                      <a:pt x="12" y="104"/>
                    </a:lnTo>
                    <a:lnTo>
                      <a:pt x="6" y="92"/>
                    </a:lnTo>
                    <a:lnTo>
                      <a:pt x="2" y="80"/>
                    </a:lnTo>
                    <a:lnTo>
                      <a:pt x="0" y="66"/>
                    </a:lnTo>
                    <a:lnTo>
                      <a:pt x="0" y="66"/>
                    </a:lnTo>
                    <a:lnTo>
                      <a:pt x="2" y="54"/>
                    </a:lnTo>
                    <a:lnTo>
                      <a:pt x="6" y="40"/>
                    </a:lnTo>
                    <a:lnTo>
                      <a:pt x="12" y="30"/>
                    </a:lnTo>
                    <a:lnTo>
                      <a:pt x="20" y="20"/>
                    </a:lnTo>
                    <a:lnTo>
                      <a:pt x="30" y="12"/>
                    </a:lnTo>
                    <a:lnTo>
                      <a:pt x="40" y="6"/>
                    </a:lnTo>
                    <a:lnTo>
                      <a:pt x="52" y="2"/>
                    </a:lnTo>
                    <a:lnTo>
                      <a:pt x="66" y="0"/>
                    </a:lnTo>
                    <a:lnTo>
                      <a:pt x="66" y="0"/>
                    </a:lnTo>
                    <a:lnTo>
                      <a:pt x="80" y="2"/>
                    </a:lnTo>
                    <a:lnTo>
                      <a:pt x="92" y="6"/>
                    </a:lnTo>
                    <a:lnTo>
                      <a:pt x="102" y="12"/>
                    </a:lnTo>
                    <a:lnTo>
                      <a:pt x="112" y="20"/>
                    </a:lnTo>
                    <a:lnTo>
                      <a:pt x="120" y="30"/>
                    </a:lnTo>
                    <a:lnTo>
                      <a:pt x="126" y="40"/>
                    </a:lnTo>
                    <a:lnTo>
                      <a:pt x="130" y="54"/>
                    </a:lnTo>
                    <a:lnTo>
                      <a:pt x="132" y="66"/>
                    </a:lnTo>
                    <a:lnTo>
                      <a:pt x="132" y="66"/>
                    </a:lnTo>
                    <a:lnTo>
                      <a:pt x="130" y="80"/>
                    </a:lnTo>
                    <a:lnTo>
                      <a:pt x="126" y="92"/>
                    </a:lnTo>
                    <a:lnTo>
                      <a:pt x="120" y="104"/>
                    </a:lnTo>
                    <a:lnTo>
                      <a:pt x="112" y="112"/>
                    </a:lnTo>
                    <a:lnTo>
                      <a:pt x="102" y="122"/>
                    </a:lnTo>
                    <a:lnTo>
                      <a:pt x="92" y="128"/>
                    </a:lnTo>
                    <a:lnTo>
                      <a:pt x="80" y="130"/>
                    </a:lnTo>
                    <a:lnTo>
                      <a:pt x="66" y="132"/>
                    </a:lnTo>
                    <a:lnTo>
                      <a:pt x="66" y="132"/>
                    </a:lnTo>
                    <a:close/>
                    <a:moveTo>
                      <a:pt x="66" y="18"/>
                    </a:moveTo>
                    <a:lnTo>
                      <a:pt x="66" y="18"/>
                    </a:lnTo>
                    <a:lnTo>
                      <a:pt x="56" y="20"/>
                    </a:lnTo>
                    <a:lnTo>
                      <a:pt x="48" y="22"/>
                    </a:lnTo>
                    <a:lnTo>
                      <a:pt x="40" y="26"/>
                    </a:lnTo>
                    <a:lnTo>
                      <a:pt x="32" y="32"/>
                    </a:lnTo>
                    <a:lnTo>
                      <a:pt x="26" y="40"/>
                    </a:lnTo>
                    <a:lnTo>
                      <a:pt x="22" y="48"/>
                    </a:lnTo>
                    <a:lnTo>
                      <a:pt x="20" y="56"/>
                    </a:lnTo>
                    <a:lnTo>
                      <a:pt x="18" y="66"/>
                    </a:lnTo>
                    <a:lnTo>
                      <a:pt x="18" y="66"/>
                    </a:lnTo>
                    <a:lnTo>
                      <a:pt x="20" y="76"/>
                    </a:lnTo>
                    <a:lnTo>
                      <a:pt x="22" y="86"/>
                    </a:lnTo>
                    <a:lnTo>
                      <a:pt x="26" y="94"/>
                    </a:lnTo>
                    <a:lnTo>
                      <a:pt x="32" y="100"/>
                    </a:lnTo>
                    <a:lnTo>
                      <a:pt x="40" y="106"/>
                    </a:lnTo>
                    <a:lnTo>
                      <a:pt x="48" y="110"/>
                    </a:lnTo>
                    <a:lnTo>
                      <a:pt x="56" y="114"/>
                    </a:lnTo>
                    <a:lnTo>
                      <a:pt x="66" y="114"/>
                    </a:lnTo>
                    <a:lnTo>
                      <a:pt x="66" y="114"/>
                    </a:lnTo>
                    <a:lnTo>
                      <a:pt x="76" y="114"/>
                    </a:lnTo>
                    <a:lnTo>
                      <a:pt x="84" y="110"/>
                    </a:lnTo>
                    <a:lnTo>
                      <a:pt x="92" y="106"/>
                    </a:lnTo>
                    <a:lnTo>
                      <a:pt x="100" y="100"/>
                    </a:lnTo>
                    <a:lnTo>
                      <a:pt x="106" y="94"/>
                    </a:lnTo>
                    <a:lnTo>
                      <a:pt x="110" y="86"/>
                    </a:lnTo>
                    <a:lnTo>
                      <a:pt x="112" y="76"/>
                    </a:lnTo>
                    <a:lnTo>
                      <a:pt x="114" y="66"/>
                    </a:lnTo>
                    <a:lnTo>
                      <a:pt x="114" y="66"/>
                    </a:lnTo>
                    <a:lnTo>
                      <a:pt x="112" y="56"/>
                    </a:lnTo>
                    <a:lnTo>
                      <a:pt x="110" y="48"/>
                    </a:lnTo>
                    <a:lnTo>
                      <a:pt x="106" y="40"/>
                    </a:lnTo>
                    <a:lnTo>
                      <a:pt x="100" y="32"/>
                    </a:lnTo>
                    <a:lnTo>
                      <a:pt x="92" y="26"/>
                    </a:lnTo>
                    <a:lnTo>
                      <a:pt x="84" y="22"/>
                    </a:lnTo>
                    <a:lnTo>
                      <a:pt x="76" y="20"/>
                    </a:lnTo>
                    <a:lnTo>
                      <a:pt x="66" y="18"/>
                    </a:lnTo>
                    <a:lnTo>
                      <a:pt x="66"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Rectangle 47">
                <a:extLst>
                  <a:ext uri="{FF2B5EF4-FFF2-40B4-BE49-F238E27FC236}">
                    <a16:creationId xmlns:a16="http://schemas.microsoft.com/office/drawing/2014/main" id="{30BA0167-4E9D-4849-8FF1-5307A6F51D8D}"/>
                  </a:ext>
                </a:extLst>
              </p:cNvPr>
              <p:cNvSpPr>
                <a:spLocks noChangeArrowheads="1"/>
              </p:cNvSpPr>
              <p:nvPr/>
            </p:nvSpPr>
            <p:spPr bwMode="auto">
              <a:xfrm>
                <a:off x="6461125" y="4684713"/>
                <a:ext cx="231775" cy="285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48">
                <a:extLst>
                  <a:ext uri="{FF2B5EF4-FFF2-40B4-BE49-F238E27FC236}">
                    <a16:creationId xmlns:a16="http://schemas.microsoft.com/office/drawing/2014/main" id="{B2594F4E-9825-4FE6-B45F-4771B9C54CA0}"/>
                  </a:ext>
                </a:extLst>
              </p:cNvPr>
              <p:cNvSpPr>
                <a:spLocks/>
              </p:cNvSpPr>
              <p:nvPr/>
            </p:nvSpPr>
            <p:spPr bwMode="auto">
              <a:xfrm>
                <a:off x="6340475" y="4240213"/>
                <a:ext cx="200025" cy="292100"/>
              </a:xfrm>
              <a:custGeom>
                <a:avLst/>
                <a:gdLst>
                  <a:gd name="T0" fmla="*/ 16 w 126"/>
                  <a:gd name="T1" fmla="*/ 184 h 184"/>
                  <a:gd name="T2" fmla="*/ 0 w 126"/>
                  <a:gd name="T3" fmla="*/ 174 h 184"/>
                  <a:gd name="T4" fmla="*/ 112 w 126"/>
                  <a:gd name="T5" fmla="*/ 0 h 184"/>
                  <a:gd name="T6" fmla="*/ 126 w 126"/>
                  <a:gd name="T7" fmla="*/ 10 h 184"/>
                  <a:gd name="T8" fmla="*/ 16 w 126"/>
                  <a:gd name="T9" fmla="*/ 184 h 184"/>
                </a:gdLst>
                <a:ahLst/>
                <a:cxnLst>
                  <a:cxn ang="0">
                    <a:pos x="T0" y="T1"/>
                  </a:cxn>
                  <a:cxn ang="0">
                    <a:pos x="T2" y="T3"/>
                  </a:cxn>
                  <a:cxn ang="0">
                    <a:pos x="T4" y="T5"/>
                  </a:cxn>
                  <a:cxn ang="0">
                    <a:pos x="T6" y="T7"/>
                  </a:cxn>
                  <a:cxn ang="0">
                    <a:pos x="T8" y="T9"/>
                  </a:cxn>
                </a:cxnLst>
                <a:rect l="0" t="0" r="r" b="b"/>
                <a:pathLst>
                  <a:path w="126" h="184">
                    <a:moveTo>
                      <a:pt x="16" y="184"/>
                    </a:moveTo>
                    <a:lnTo>
                      <a:pt x="0" y="174"/>
                    </a:lnTo>
                    <a:lnTo>
                      <a:pt x="112" y="0"/>
                    </a:lnTo>
                    <a:lnTo>
                      <a:pt x="126" y="10"/>
                    </a:lnTo>
                    <a:lnTo>
                      <a:pt x="16" y="1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49">
                <a:extLst>
                  <a:ext uri="{FF2B5EF4-FFF2-40B4-BE49-F238E27FC236}">
                    <a16:creationId xmlns:a16="http://schemas.microsoft.com/office/drawing/2014/main" id="{3A53FFE1-07B1-4923-8D91-8CB76CBADA25}"/>
                  </a:ext>
                </a:extLst>
              </p:cNvPr>
              <p:cNvSpPr>
                <a:spLocks/>
              </p:cNvSpPr>
              <p:nvPr/>
            </p:nvSpPr>
            <p:spPr bwMode="auto">
              <a:xfrm>
                <a:off x="5870575" y="4456113"/>
                <a:ext cx="250825" cy="161925"/>
              </a:xfrm>
              <a:custGeom>
                <a:avLst/>
                <a:gdLst>
                  <a:gd name="T0" fmla="*/ 148 w 158"/>
                  <a:gd name="T1" fmla="*/ 102 h 102"/>
                  <a:gd name="T2" fmla="*/ 0 w 158"/>
                  <a:gd name="T3" fmla="*/ 16 h 102"/>
                  <a:gd name="T4" fmla="*/ 10 w 158"/>
                  <a:gd name="T5" fmla="*/ 0 h 102"/>
                  <a:gd name="T6" fmla="*/ 158 w 158"/>
                  <a:gd name="T7" fmla="*/ 88 h 102"/>
                  <a:gd name="T8" fmla="*/ 148 w 158"/>
                  <a:gd name="T9" fmla="*/ 102 h 102"/>
                </a:gdLst>
                <a:ahLst/>
                <a:cxnLst>
                  <a:cxn ang="0">
                    <a:pos x="T0" y="T1"/>
                  </a:cxn>
                  <a:cxn ang="0">
                    <a:pos x="T2" y="T3"/>
                  </a:cxn>
                  <a:cxn ang="0">
                    <a:pos x="T4" y="T5"/>
                  </a:cxn>
                  <a:cxn ang="0">
                    <a:pos x="T6" y="T7"/>
                  </a:cxn>
                  <a:cxn ang="0">
                    <a:pos x="T8" y="T9"/>
                  </a:cxn>
                </a:cxnLst>
                <a:rect l="0" t="0" r="r" b="b"/>
                <a:pathLst>
                  <a:path w="158" h="102">
                    <a:moveTo>
                      <a:pt x="148" y="102"/>
                    </a:moveTo>
                    <a:lnTo>
                      <a:pt x="0" y="16"/>
                    </a:lnTo>
                    <a:lnTo>
                      <a:pt x="10" y="0"/>
                    </a:lnTo>
                    <a:lnTo>
                      <a:pt x="158" y="88"/>
                    </a:lnTo>
                    <a:lnTo>
                      <a:pt x="14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50">
                <a:extLst>
                  <a:ext uri="{FF2B5EF4-FFF2-40B4-BE49-F238E27FC236}">
                    <a16:creationId xmlns:a16="http://schemas.microsoft.com/office/drawing/2014/main" id="{A14080CB-9976-4D4F-A72B-3B7E2A9D17C8}"/>
                  </a:ext>
                </a:extLst>
              </p:cNvPr>
              <p:cNvSpPr>
                <a:spLocks/>
              </p:cNvSpPr>
              <p:nvPr/>
            </p:nvSpPr>
            <p:spPr bwMode="auto">
              <a:xfrm>
                <a:off x="5972175" y="4846638"/>
                <a:ext cx="187325" cy="222250"/>
              </a:xfrm>
              <a:custGeom>
                <a:avLst/>
                <a:gdLst>
                  <a:gd name="T0" fmla="*/ 14 w 118"/>
                  <a:gd name="T1" fmla="*/ 140 h 140"/>
                  <a:gd name="T2" fmla="*/ 0 w 118"/>
                  <a:gd name="T3" fmla="*/ 128 h 140"/>
                  <a:gd name="T4" fmla="*/ 104 w 118"/>
                  <a:gd name="T5" fmla="*/ 0 h 140"/>
                  <a:gd name="T6" fmla="*/ 118 w 118"/>
                  <a:gd name="T7" fmla="*/ 10 h 140"/>
                  <a:gd name="T8" fmla="*/ 14 w 118"/>
                  <a:gd name="T9" fmla="*/ 140 h 140"/>
                </a:gdLst>
                <a:ahLst/>
                <a:cxnLst>
                  <a:cxn ang="0">
                    <a:pos x="T0" y="T1"/>
                  </a:cxn>
                  <a:cxn ang="0">
                    <a:pos x="T2" y="T3"/>
                  </a:cxn>
                  <a:cxn ang="0">
                    <a:pos x="T4" y="T5"/>
                  </a:cxn>
                  <a:cxn ang="0">
                    <a:pos x="T6" y="T7"/>
                  </a:cxn>
                  <a:cxn ang="0">
                    <a:pos x="T8" y="T9"/>
                  </a:cxn>
                </a:cxnLst>
                <a:rect l="0" t="0" r="r" b="b"/>
                <a:pathLst>
                  <a:path w="118" h="140">
                    <a:moveTo>
                      <a:pt x="14" y="140"/>
                    </a:moveTo>
                    <a:lnTo>
                      <a:pt x="0" y="128"/>
                    </a:lnTo>
                    <a:lnTo>
                      <a:pt x="104" y="0"/>
                    </a:lnTo>
                    <a:lnTo>
                      <a:pt x="118" y="10"/>
                    </a:lnTo>
                    <a:lnTo>
                      <a:pt x="14" y="1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51">
                <a:extLst>
                  <a:ext uri="{FF2B5EF4-FFF2-40B4-BE49-F238E27FC236}">
                    <a16:creationId xmlns:a16="http://schemas.microsoft.com/office/drawing/2014/main" id="{958D154A-B000-49F9-9D40-6539817CDD5B}"/>
                  </a:ext>
                </a:extLst>
              </p:cNvPr>
              <p:cNvSpPr>
                <a:spLocks noEditPoints="1"/>
              </p:cNvSpPr>
              <p:nvPr/>
            </p:nvSpPr>
            <p:spPr bwMode="auto">
              <a:xfrm>
                <a:off x="6423025" y="5059363"/>
                <a:ext cx="187325" cy="187325"/>
              </a:xfrm>
              <a:custGeom>
                <a:avLst/>
                <a:gdLst>
                  <a:gd name="T0" fmla="*/ 60 w 118"/>
                  <a:gd name="T1" fmla="*/ 118 h 118"/>
                  <a:gd name="T2" fmla="*/ 36 w 118"/>
                  <a:gd name="T3" fmla="*/ 114 h 118"/>
                  <a:gd name="T4" fmla="*/ 18 w 118"/>
                  <a:gd name="T5" fmla="*/ 100 h 118"/>
                  <a:gd name="T6" fmla="*/ 6 w 118"/>
                  <a:gd name="T7" fmla="*/ 82 h 118"/>
                  <a:gd name="T8" fmla="*/ 0 w 118"/>
                  <a:gd name="T9" fmla="*/ 60 h 118"/>
                  <a:gd name="T10" fmla="*/ 2 w 118"/>
                  <a:gd name="T11" fmla="*/ 48 h 118"/>
                  <a:gd name="T12" fmla="*/ 10 w 118"/>
                  <a:gd name="T13" fmla="*/ 26 h 118"/>
                  <a:gd name="T14" fmla="*/ 26 w 118"/>
                  <a:gd name="T15" fmla="*/ 10 h 118"/>
                  <a:gd name="T16" fmla="*/ 48 w 118"/>
                  <a:gd name="T17" fmla="*/ 2 h 118"/>
                  <a:gd name="T18" fmla="*/ 60 w 118"/>
                  <a:gd name="T19" fmla="*/ 0 h 118"/>
                  <a:gd name="T20" fmla="*/ 82 w 118"/>
                  <a:gd name="T21" fmla="*/ 6 h 118"/>
                  <a:gd name="T22" fmla="*/ 100 w 118"/>
                  <a:gd name="T23" fmla="*/ 18 h 118"/>
                  <a:gd name="T24" fmla="*/ 114 w 118"/>
                  <a:gd name="T25" fmla="*/ 36 h 118"/>
                  <a:gd name="T26" fmla="*/ 118 w 118"/>
                  <a:gd name="T27" fmla="*/ 60 h 118"/>
                  <a:gd name="T28" fmla="*/ 116 w 118"/>
                  <a:gd name="T29" fmla="*/ 72 h 118"/>
                  <a:gd name="T30" fmla="*/ 108 w 118"/>
                  <a:gd name="T31" fmla="*/ 92 h 118"/>
                  <a:gd name="T32" fmla="*/ 92 w 118"/>
                  <a:gd name="T33" fmla="*/ 108 h 118"/>
                  <a:gd name="T34" fmla="*/ 72 w 118"/>
                  <a:gd name="T35" fmla="*/ 116 h 118"/>
                  <a:gd name="T36" fmla="*/ 60 w 118"/>
                  <a:gd name="T37" fmla="*/ 118 h 118"/>
                  <a:gd name="T38" fmla="*/ 60 w 118"/>
                  <a:gd name="T39" fmla="*/ 18 h 118"/>
                  <a:gd name="T40" fmla="*/ 44 w 118"/>
                  <a:gd name="T41" fmla="*/ 22 h 118"/>
                  <a:gd name="T42" fmla="*/ 30 w 118"/>
                  <a:gd name="T43" fmla="*/ 30 h 118"/>
                  <a:gd name="T44" fmla="*/ 22 w 118"/>
                  <a:gd name="T45" fmla="*/ 44 h 118"/>
                  <a:gd name="T46" fmla="*/ 18 w 118"/>
                  <a:gd name="T47" fmla="*/ 60 h 118"/>
                  <a:gd name="T48" fmla="*/ 20 w 118"/>
                  <a:gd name="T49" fmla="*/ 68 h 118"/>
                  <a:gd name="T50" fmla="*/ 26 w 118"/>
                  <a:gd name="T51" fmla="*/ 82 h 118"/>
                  <a:gd name="T52" fmla="*/ 36 w 118"/>
                  <a:gd name="T53" fmla="*/ 94 h 118"/>
                  <a:gd name="T54" fmla="*/ 52 w 118"/>
                  <a:gd name="T55" fmla="*/ 100 h 118"/>
                  <a:gd name="T56" fmla="*/ 60 w 118"/>
                  <a:gd name="T57" fmla="*/ 100 h 118"/>
                  <a:gd name="T58" fmla="*/ 76 w 118"/>
                  <a:gd name="T59" fmla="*/ 96 h 118"/>
                  <a:gd name="T60" fmla="*/ 88 w 118"/>
                  <a:gd name="T61" fmla="*/ 88 h 118"/>
                  <a:gd name="T62" fmla="*/ 96 w 118"/>
                  <a:gd name="T63" fmla="*/ 76 h 118"/>
                  <a:gd name="T64" fmla="*/ 100 w 118"/>
                  <a:gd name="T65" fmla="*/ 60 h 118"/>
                  <a:gd name="T66" fmla="*/ 100 w 118"/>
                  <a:gd name="T67" fmla="*/ 52 h 118"/>
                  <a:gd name="T68" fmla="*/ 94 w 118"/>
                  <a:gd name="T69" fmla="*/ 36 h 118"/>
                  <a:gd name="T70" fmla="*/ 82 w 118"/>
                  <a:gd name="T71" fmla="*/ 26 h 118"/>
                  <a:gd name="T72" fmla="*/ 68 w 118"/>
                  <a:gd name="T73" fmla="*/ 20 h 118"/>
                  <a:gd name="T74" fmla="*/ 60 w 118"/>
                  <a:gd name="T75" fmla="*/ 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60" y="118"/>
                    </a:moveTo>
                    <a:lnTo>
                      <a:pt x="60" y="118"/>
                    </a:lnTo>
                    <a:lnTo>
                      <a:pt x="48" y="116"/>
                    </a:lnTo>
                    <a:lnTo>
                      <a:pt x="36" y="114"/>
                    </a:lnTo>
                    <a:lnTo>
                      <a:pt x="26" y="108"/>
                    </a:lnTo>
                    <a:lnTo>
                      <a:pt x="18" y="100"/>
                    </a:lnTo>
                    <a:lnTo>
                      <a:pt x="10" y="92"/>
                    </a:lnTo>
                    <a:lnTo>
                      <a:pt x="6" y="82"/>
                    </a:lnTo>
                    <a:lnTo>
                      <a:pt x="2" y="72"/>
                    </a:lnTo>
                    <a:lnTo>
                      <a:pt x="0" y="60"/>
                    </a:lnTo>
                    <a:lnTo>
                      <a:pt x="0" y="60"/>
                    </a:lnTo>
                    <a:lnTo>
                      <a:pt x="2" y="48"/>
                    </a:lnTo>
                    <a:lnTo>
                      <a:pt x="6" y="36"/>
                    </a:lnTo>
                    <a:lnTo>
                      <a:pt x="10" y="26"/>
                    </a:lnTo>
                    <a:lnTo>
                      <a:pt x="18" y="18"/>
                    </a:lnTo>
                    <a:lnTo>
                      <a:pt x="26" y="10"/>
                    </a:lnTo>
                    <a:lnTo>
                      <a:pt x="36" y="6"/>
                    </a:lnTo>
                    <a:lnTo>
                      <a:pt x="48" y="2"/>
                    </a:lnTo>
                    <a:lnTo>
                      <a:pt x="60" y="0"/>
                    </a:lnTo>
                    <a:lnTo>
                      <a:pt x="60" y="0"/>
                    </a:lnTo>
                    <a:lnTo>
                      <a:pt x="72" y="2"/>
                    </a:lnTo>
                    <a:lnTo>
                      <a:pt x="82" y="6"/>
                    </a:lnTo>
                    <a:lnTo>
                      <a:pt x="92" y="10"/>
                    </a:lnTo>
                    <a:lnTo>
                      <a:pt x="100" y="18"/>
                    </a:lnTo>
                    <a:lnTo>
                      <a:pt x="108" y="26"/>
                    </a:lnTo>
                    <a:lnTo>
                      <a:pt x="114" y="36"/>
                    </a:lnTo>
                    <a:lnTo>
                      <a:pt x="116" y="48"/>
                    </a:lnTo>
                    <a:lnTo>
                      <a:pt x="118" y="60"/>
                    </a:lnTo>
                    <a:lnTo>
                      <a:pt x="118" y="60"/>
                    </a:lnTo>
                    <a:lnTo>
                      <a:pt x="116" y="72"/>
                    </a:lnTo>
                    <a:lnTo>
                      <a:pt x="114" y="82"/>
                    </a:lnTo>
                    <a:lnTo>
                      <a:pt x="108" y="92"/>
                    </a:lnTo>
                    <a:lnTo>
                      <a:pt x="100" y="100"/>
                    </a:lnTo>
                    <a:lnTo>
                      <a:pt x="92" y="108"/>
                    </a:lnTo>
                    <a:lnTo>
                      <a:pt x="82" y="114"/>
                    </a:lnTo>
                    <a:lnTo>
                      <a:pt x="72" y="116"/>
                    </a:lnTo>
                    <a:lnTo>
                      <a:pt x="60" y="118"/>
                    </a:lnTo>
                    <a:lnTo>
                      <a:pt x="60" y="118"/>
                    </a:lnTo>
                    <a:close/>
                    <a:moveTo>
                      <a:pt x="60" y="18"/>
                    </a:moveTo>
                    <a:lnTo>
                      <a:pt x="60" y="18"/>
                    </a:lnTo>
                    <a:lnTo>
                      <a:pt x="52" y="20"/>
                    </a:lnTo>
                    <a:lnTo>
                      <a:pt x="44" y="22"/>
                    </a:lnTo>
                    <a:lnTo>
                      <a:pt x="36" y="26"/>
                    </a:lnTo>
                    <a:lnTo>
                      <a:pt x="30" y="30"/>
                    </a:lnTo>
                    <a:lnTo>
                      <a:pt x="26" y="36"/>
                    </a:lnTo>
                    <a:lnTo>
                      <a:pt x="22" y="44"/>
                    </a:lnTo>
                    <a:lnTo>
                      <a:pt x="20" y="52"/>
                    </a:lnTo>
                    <a:lnTo>
                      <a:pt x="18" y="60"/>
                    </a:lnTo>
                    <a:lnTo>
                      <a:pt x="18" y="60"/>
                    </a:lnTo>
                    <a:lnTo>
                      <a:pt x="20" y="68"/>
                    </a:lnTo>
                    <a:lnTo>
                      <a:pt x="22" y="76"/>
                    </a:lnTo>
                    <a:lnTo>
                      <a:pt x="26" y="82"/>
                    </a:lnTo>
                    <a:lnTo>
                      <a:pt x="30" y="88"/>
                    </a:lnTo>
                    <a:lnTo>
                      <a:pt x="36" y="94"/>
                    </a:lnTo>
                    <a:lnTo>
                      <a:pt x="44" y="96"/>
                    </a:lnTo>
                    <a:lnTo>
                      <a:pt x="52" y="100"/>
                    </a:lnTo>
                    <a:lnTo>
                      <a:pt x="60" y="100"/>
                    </a:lnTo>
                    <a:lnTo>
                      <a:pt x="60" y="100"/>
                    </a:lnTo>
                    <a:lnTo>
                      <a:pt x="68" y="100"/>
                    </a:lnTo>
                    <a:lnTo>
                      <a:pt x="76" y="96"/>
                    </a:lnTo>
                    <a:lnTo>
                      <a:pt x="82" y="94"/>
                    </a:lnTo>
                    <a:lnTo>
                      <a:pt x="88" y="88"/>
                    </a:lnTo>
                    <a:lnTo>
                      <a:pt x="94" y="82"/>
                    </a:lnTo>
                    <a:lnTo>
                      <a:pt x="96" y="76"/>
                    </a:lnTo>
                    <a:lnTo>
                      <a:pt x="100" y="68"/>
                    </a:lnTo>
                    <a:lnTo>
                      <a:pt x="100" y="60"/>
                    </a:lnTo>
                    <a:lnTo>
                      <a:pt x="100" y="60"/>
                    </a:lnTo>
                    <a:lnTo>
                      <a:pt x="100" y="52"/>
                    </a:lnTo>
                    <a:lnTo>
                      <a:pt x="96" y="44"/>
                    </a:lnTo>
                    <a:lnTo>
                      <a:pt x="94" y="36"/>
                    </a:lnTo>
                    <a:lnTo>
                      <a:pt x="88" y="30"/>
                    </a:lnTo>
                    <a:lnTo>
                      <a:pt x="82" y="26"/>
                    </a:lnTo>
                    <a:lnTo>
                      <a:pt x="76" y="22"/>
                    </a:lnTo>
                    <a:lnTo>
                      <a:pt x="68" y="20"/>
                    </a:lnTo>
                    <a:lnTo>
                      <a:pt x="60" y="18"/>
                    </a:lnTo>
                    <a:lnTo>
                      <a:pt x="60"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52">
                <a:extLst>
                  <a:ext uri="{FF2B5EF4-FFF2-40B4-BE49-F238E27FC236}">
                    <a16:creationId xmlns:a16="http://schemas.microsoft.com/office/drawing/2014/main" id="{2F72F2B5-2946-4E29-85ED-3385335FA6E2}"/>
                  </a:ext>
                </a:extLst>
              </p:cNvPr>
              <p:cNvSpPr>
                <a:spLocks/>
              </p:cNvSpPr>
              <p:nvPr/>
            </p:nvSpPr>
            <p:spPr bwMode="auto">
              <a:xfrm>
                <a:off x="6350000" y="4859338"/>
                <a:ext cx="146050" cy="244475"/>
              </a:xfrm>
              <a:custGeom>
                <a:avLst/>
                <a:gdLst>
                  <a:gd name="T0" fmla="*/ 76 w 92"/>
                  <a:gd name="T1" fmla="*/ 154 h 154"/>
                  <a:gd name="T2" fmla="*/ 0 w 92"/>
                  <a:gd name="T3" fmla="*/ 8 h 154"/>
                  <a:gd name="T4" fmla="*/ 16 w 92"/>
                  <a:gd name="T5" fmla="*/ 0 h 154"/>
                  <a:gd name="T6" fmla="*/ 92 w 92"/>
                  <a:gd name="T7" fmla="*/ 146 h 154"/>
                  <a:gd name="T8" fmla="*/ 76 w 92"/>
                  <a:gd name="T9" fmla="*/ 154 h 154"/>
                </a:gdLst>
                <a:ahLst/>
                <a:cxnLst>
                  <a:cxn ang="0">
                    <a:pos x="T0" y="T1"/>
                  </a:cxn>
                  <a:cxn ang="0">
                    <a:pos x="T2" y="T3"/>
                  </a:cxn>
                  <a:cxn ang="0">
                    <a:pos x="T4" y="T5"/>
                  </a:cxn>
                  <a:cxn ang="0">
                    <a:pos x="T6" y="T7"/>
                  </a:cxn>
                  <a:cxn ang="0">
                    <a:pos x="T8" y="T9"/>
                  </a:cxn>
                </a:cxnLst>
                <a:rect l="0" t="0" r="r" b="b"/>
                <a:pathLst>
                  <a:path w="92" h="154">
                    <a:moveTo>
                      <a:pt x="76" y="154"/>
                    </a:moveTo>
                    <a:lnTo>
                      <a:pt x="0" y="8"/>
                    </a:lnTo>
                    <a:lnTo>
                      <a:pt x="16" y="0"/>
                    </a:lnTo>
                    <a:lnTo>
                      <a:pt x="92" y="146"/>
                    </a:lnTo>
                    <a:lnTo>
                      <a:pt x="76" y="1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53">
                <a:extLst>
                  <a:ext uri="{FF2B5EF4-FFF2-40B4-BE49-F238E27FC236}">
                    <a16:creationId xmlns:a16="http://schemas.microsoft.com/office/drawing/2014/main" id="{00384081-FE64-4A63-92F7-BED0A00BC69E}"/>
                  </a:ext>
                </a:extLst>
              </p:cNvPr>
              <p:cNvSpPr>
                <a:spLocks/>
              </p:cNvSpPr>
              <p:nvPr/>
            </p:nvSpPr>
            <p:spPr bwMode="auto">
              <a:xfrm>
                <a:off x="5648325" y="4271963"/>
                <a:ext cx="123825" cy="120650"/>
              </a:xfrm>
              <a:custGeom>
                <a:avLst/>
                <a:gdLst>
                  <a:gd name="T0" fmla="*/ 10 w 78"/>
                  <a:gd name="T1" fmla="*/ 76 h 76"/>
                  <a:gd name="T2" fmla="*/ 10 w 78"/>
                  <a:gd name="T3" fmla="*/ 76 h 76"/>
                  <a:gd name="T4" fmla="*/ 6 w 78"/>
                  <a:gd name="T5" fmla="*/ 76 h 76"/>
                  <a:gd name="T6" fmla="*/ 4 w 78"/>
                  <a:gd name="T7" fmla="*/ 74 h 76"/>
                  <a:gd name="T8" fmla="*/ 2 w 78"/>
                  <a:gd name="T9" fmla="*/ 72 h 76"/>
                  <a:gd name="T10" fmla="*/ 0 w 78"/>
                  <a:gd name="T11" fmla="*/ 68 h 76"/>
                  <a:gd name="T12" fmla="*/ 0 w 78"/>
                  <a:gd name="T13" fmla="*/ 68 h 76"/>
                  <a:gd name="T14" fmla="*/ 2 w 78"/>
                  <a:gd name="T15" fmla="*/ 54 h 76"/>
                  <a:gd name="T16" fmla="*/ 6 w 78"/>
                  <a:gd name="T17" fmla="*/ 42 h 76"/>
                  <a:gd name="T18" fmla="*/ 12 w 78"/>
                  <a:gd name="T19" fmla="*/ 30 h 76"/>
                  <a:gd name="T20" fmla="*/ 20 w 78"/>
                  <a:gd name="T21" fmla="*/ 20 h 76"/>
                  <a:gd name="T22" fmla="*/ 30 w 78"/>
                  <a:gd name="T23" fmla="*/ 12 h 76"/>
                  <a:gd name="T24" fmla="*/ 42 w 78"/>
                  <a:gd name="T25" fmla="*/ 4 h 76"/>
                  <a:gd name="T26" fmla="*/ 56 w 78"/>
                  <a:gd name="T27" fmla="*/ 0 h 76"/>
                  <a:gd name="T28" fmla="*/ 70 w 78"/>
                  <a:gd name="T29" fmla="*/ 0 h 76"/>
                  <a:gd name="T30" fmla="*/ 70 w 78"/>
                  <a:gd name="T31" fmla="*/ 0 h 76"/>
                  <a:gd name="T32" fmla="*/ 72 w 78"/>
                  <a:gd name="T33" fmla="*/ 0 h 76"/>
                  <a:gd name="T34" fmla="*/ 76 w 78"/>
                  <a:gd name="T35" fmla="*/ 2 h 76"/>
                  <a:gd name="T36" fmla="*/ 78 w 78"/>
                  <a:gd name="T37" fmla="*/ 4 h 76"/>
                  <a:gd name="T38" fmla="*/ 78 w 78"/>
                  <a:gd name="T39" fmla="*/ 8 h 76"/>
                  <a:gd name="T40" fmla="*/ 78 w 78"/>
                  <a:gd name="T41" fmla="*/ 8 h 76"/>
                  <a:gd name="T42" fmla="*/ 78 w 78"/>
                  <a:gd name="T43" fmla="*/ 12 h 76"/>
                  <a:gd name="T44" fmla="*/ 76 w 78"/>
                  <a:gd name="T45" fmla="*/ 14 h 76"/>
                  <a:gd name="T46" fmla="*/ 72 w 78"/>
                  <a:gd name="T47" fmla="*/ 16 h 76"/>
                  <a:gd name="T48" fmla="*/ 70 w 78"/>
                  <a:gd name="T49" fmla="*/ 18 h 76"/>
                  <a:gd name="T50" fmla="*/ 70 w 78"/>
                  <a:gd name="T51" fmla="*/ 18 h 76"/>
                  <a:gd name="T52" fmla="*/ 58 w 78"/>
                  <a:gd name="T53" fmla="*/ 18 h 76"/>
                  <a:gd name="T54" fmla="*/ 50 w 78"/>
                  <a:gd name="T55" fmla="*/ 22 h 76"/>
                  <a:gd name="T56" fmla="*/ 40 w 78"/>
                  <a:gd name="T57" fmla="*/ 26 h 76"/>
                  <a:gd name="T58" fmla="*/ 34 w 78"/>
                  <a:gd name="T59" fmla="*/ 32 h 76"/>
                  <a:gd name="T60" fmla="*/ 28 w 78"/>
                  <a:gd name="T61" fmla="*/ 40 h 76"/>
                  <a:gd name="T62" fmla="*/ 22 w 78"/>
                  <a:gd name="T63" fmla="*/ 48 h 76"/>
                  <a:gd name="T64" fmla="*/ 20 w 78"/>
                  <a:gd name="T65" fmla="*/ 58 h 76"/>
                  <a:gd name="T66" fmla="*/ 18 w 78"/>
                  <a:gd name="T67" fmla="*/ 68 h 76"/>
                  <a:gd name="T68" fmla="*/ 18 w 78"/>
                  <a:gd name="T69" fmla="*/ 68 h 76"/>
                  <a:gd name="T70" fmla="*/ 18 w 78"/>
                  <a:gd name="T71" fmla="*/ 72 h 76"/>
                  <a:gd name="T72" fmla="*/ 16 w 78"/>
                  <a:gd name="T73" fmla="*/ 74 h 76"/>
                  <a:gd name="T74" fmla="*/ 12 w 78"/>
                  <a:gd name="T75" fmla="*/ 76 h 76"/>
                  <a:gd name="T76" fmla="*/ 10 w 78"/>
                  <a:gd name="T77" fmla="*/ 76 h 76"/>
                  <a:gd name="T78" fmla="*/ 10 w 78"/>
                  <a:gd name="T7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6">
                    <a:moveTo>
                      <a:pt x="10" y="76"/>
                    </a:moveTo>
                    <a:lnTo>
                      <a:pt x="10" y="76"/>
                    </a:lnTo>
                    <a:lnTo>
                      <a:pt x="6" y="76"/>
                    </a:lnTo>
                    <a:lnTo>
                      <a:pt x="4" y="74"/>
                    </a:lnTo>
                    <a:lnTo>
                      <a:pt x="2" y="72"/>
                    </a:lnTo>
                    <a:lnTo>
                      <a:pt x="0" y="68"/>
                    </a:lnTo>
                    <a:lnTo>
                      <a:pt x="0" y="68"/>
                    </a:lnTo>
                    <a:lnTo>
                      <a:pt x="2" y="54"/>
                    </a:lnTo>
                    <a:lnTo>
                      <a:pt x="6" y="42"/>
                    </a:lnTo>
                    <a:lnTo>
                      <a:pt x="12" y="30"/>
                    </a:lnTo>
                    <a:lnTo>
                      <a:pt x="20" y="20"/>
                    </a:lnTo>
                    <a:lnTo>
                      <a:pt x="30" y="12"/>
                    </a:lnTo>
                    <a:lnTo>
                      <a:pt x="42" y="4"/>
                    </a:lnTo>
                    <a:lnTo>
                      <a:pt x="56" y="0"/>
                    </a:lnTo>
                    <a:lnTo>
                      <a:pt x="70" y="0"/>
                    </a:lnTo>
                    <a:lnTo>
                      <a:pt x="70" y="0"/>
                    </a:lnTo>
                    <a:lnTo>
                      <a:pt x="72" y="0"/>
                    </a:lnTo>
                    <a:lnTo>
                      <a:pt x="76" y="2"/>
                    </a:lnTo>
                    <a:lnTo>
                      <a:pt x="78" y="4"/>
                    </a:lnTo>
                    <a:lnTo>
                      <a:pt x="78" y="8"/>
                    </a:lnTo>
                    <a:lnTo>
                      <a:pt x="78" y="8"/>
                    </a:lnTo>
                    <a:lnTo>
                      <a:pt x="78" y="12"/>
                    </a:lnTo>
                    <a:lnTo>
                      <a:pt x="76" y="14"/>
                    </a:lnTo>
                    <a:lnTo>
                      <a:pt x="72" y="16"/>
                    </a:lnTo>
                    <a:lnTo>
                      <a:pt x="70" y="18"/>
                    </a:lnTo>
                    <a:lnTo>
                      <a:pt x="70" y="18"/>
                    </a:lnTo>
                    <a:lnTo>
                      <a:pt x="58" y="18"/>
                    </a:lnTo>
                    <a:lnTo>
                      <a:pt x="50" y="22"/>
                    </a:lnTo>
                    <a:lnTo>
                      <a:pt x="40" y="26"/>
                    </a:lnTo>
                    <a:lnTo>
                      <a:pt x="34" y="32"/>
                    </a:lnTo>
                    <a:lnTo>
                      <a:pt x="28" y="40"/>
                    </a:lnTo>
                    <a:lnTo>
                      <a:pt x="22" y="48"/>
                    </a:lnTo>
                    <a:lnTo>
                      <a:pt x="20" y="58"/>
                    </a:lnTo>
                    <a:lnTo>
                      <a:pt x="18" y="68"/>
                    </a:lnTo>
                    <a:lnTo>
                      <a:pt x="18" y="68"/>
                    </a:lnTo>
                    <a:lnTo>
                      <a:pt x="18" y="72"/>
                    </a:lnTo>
                    <a:lnTo>
                      <a:pt x="16" y="74"/>
                    </a:lnTo>
                    <a:lnTo>
                      <a:pt x="12" y="76"/>
                    </a:lnTo>
                    <a:lnTo>
                      <a:pt x="10" y="76"/>
                    </a:lnTo>
                    <a:lnTo>
                      <a:pt x="10" y="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12" name="Rectangle 211">
            <a:extLst>
              <a:ext uri="{FF2B5EF4-FFF2-40B4-BE49-F238E27FC236}">
                <a16:creationId xmlns:a16="http://schemas.microsoft.com/office/drawing/2014/main" id="{CC57DC13-3EC7-496C-9CFD-8058091F6DC4}"/>
              </a:ext>
            </a:extLst>
          </p:cNvPr>
          <p:cNvSpPr/>
          <p:nvPr/>
        </p:nvSpPr>
        <p:spPr>
          <a:xfrm>
            <a:off x="9227628" y="5163973"/>
            <a:ext cx="2970722" cy="31762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3" name="Rectangle 212">
            <a:extLst>
              <a:ext uri="{FF2B5EF4-FFF2-40B4-BE49-F238E27FC236}">
                <a16:creationId xmlns:a16="http://schemas.microsoft.com/office/drawing/2014/main" id="{A19427BC-E853-46C0-8D73-81F33999D1C5}"/>
              </a:ext>
            </a:extLst>
          </p:cNvPr>
          <p:cNvSpPr/>
          <p:nvPr/>
        </p:nvSpPr>
        <p:spPr>
          <a:xfrm>
            <a:off x="7130696" y="5163973"/>
            <a:ext cx="776642" cy="31762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4" name="Rectangle 213">
            <a:extLst>
              <a:ext uri="{FF2B5EF4-FFF2-40B4-BE49-F238E27FC236}">
                <a16:creationId xmlns:a16="http://schemas.microsoft.com/office/drawing/2014/main" id="{8DC0FD68-B1D9-40B6-A6B4-CDEB99B44E74}"/>
              </a:ext>
            </a:extLst>
          </p:cNvPr>
          <p:cNvSpPr/>
          <p:nvPr/>
        </p:nvSpPr>
        <p:spPr>
          <a:xfrm>
            <a:off x="4375296" y="5163973"/>
            <a:ext cx="1737360" cy="31762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5" name="Rounded Rectangle 214">
            <a:extLst>
              <a:ext uri="{FF2B5EF4-FFF2-40B4-BE49-F238E27FC236}">
                <a16:creationId xmlns:a16="http://schemas.microsoft.com/office/drawing/2014/main" id="{F0EA9AF7-66B4-4D20-9D17-DD372519814A}"/>
              </a:ext>
            </a:extLst>
          </p:cNvPr>
          <p:cNvSpPr/>
          <p:nvPr/>
        </p:nvSpPr>
        <p:spPr>
          <a:xfrm>
            <a:off x="3340967" y="4747296"/>
            <a:ext cx="1640725" cy="1150977"/>
          </a:xfrm>
          <a:prstGeom prst="roundRect">
            <a:avLst/>
          </a:prstGeom>
          <a:solidFill>
            <a:schemeClr val="tx1"/>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6" name="Rounded Rectangle 215">
            <a:extLst>
              <a:ext uri="{FF2B5EF4-FFF2-40B4-BE49-F238E27FC236}">
                <a16:creationId xmlns:a16="http://schemas.microsoft.com/office/drawing/2014/main" id="{CE087287-88C9-434A-9916-A8B5A4AD5A48}"/>
              </a:ext>
            </a:extLst>
          </p:cNvPr>
          <p:cNvSpPr/>
          <p:nvPr/>
        </p:nvSpPr>
        <p:spPr>
          <a:xfrm>
            <a:off x="9976862" y="4747296"/>
            <a:ext cx="1640725" cy="1150977"/>
          </a:xfrm>
          <a:prstGeom prst="roundRect">
            <a:avLst/>
          </a:prstGeom>
          <a:solidFill>
            <a:schemeClr val="tx1"/>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7" name="Rounded Rectangle 216">
            <a:extLst>
              <a:ext uri="{FF2B5EF4-FFF2-40B4-BE49-F238E27FC236}">
                <a16:creationId xmlns:a16="http://schemas.microsoft.com/office/drawing/2014/main" id="{F16C210A-06A3-4727-B1C4-A95046FA34AE}"/>
              </a:ext>
            </a:extLst>
          </p:cNvPr>
          <p:cNvSpPr/>
          <p:nvPr/>
        </p:nvSpPr>
        <p:spPr>
          <a:xfrm>
            <a:off x="5552932" y="4747296"/>
            <a:ext cx="1640725" cy="1150977"/>
          </a:xfrm>
          <a:prstGeom prst="roundRect">
            <a:avLst/>
          </a:prstGeom>
          <a:solidFill>
            <a:schemeClr val="tx1"/>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8" name="Rounded Rectangle 217">
            <a:extLst>
              <a:ext uri="{FF2B5EF4-FFF2-40B4-BE49-F238E27FC236}">
                <a16:creationId xmlns:a16="http://schemas.microsoft.com/office/drawing/2014/main" id="{285C6B19-4BEE-416D-84D5-60FDC08CFD78}"/>
              </a:ext>
            </a:extLst>
          </p:cNvPr>
          <p:cNvSpPr/>
          <p:nvPr/>
        </p:nvSpPr>
        <p:spPr>
          <a:xfrm>
            <a:off x="7764897" y="4747296"/>
            <a:ext cx="1640725" cy="1150977"/>
          </a:xfrm>
          <a:prstGeom prst="roundRect">
            <a:avLst/>
          </a:prstGeom>
          <a:solidFill>
            <a:schemeClr val="tx1"/>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9" name="TextBox 218">
            <a:extLst>
              <a:ext uri="{FF2B5EF4-FFF2-40B4-BE49-F238E27FC236}">
                <a16:creationId xmlns:a16="http://schemas.microsoft.com/office/drawing/2014/main" id="{F77262FE-5803-450E-935C-6F2BEF0C5ABA}"/>
              </a:ext>
            </a:extLst>
          </p:cNvPr>
          <p:cNvSpPr txBox="1"/>
          <p:nvPr/>
        </p:nvSpPr>
        <p:spPr>
          <a:xfrm>
            <a:off x="3340967" y="5217378"/>
            <a:ext cx="1640725" cy="210813"/>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400" dirty="0">
                <a:solidFill>
                  <a:schemeClr val="bg2"/>
                </a:solidFill>
                <a:latin typeface="EYInterstate" panose="02000503020000020004" pitchFamily="2" charset="0"/>
              </a:rPr>
              <a:t>Distributed ledger</a:t>
            </a:r>
          </a:p>
        </p:txBody>
      </p:sp>
      <p:sp>
        <p:nvSpPr>
          <p:cNvPr id="220" name="TextBox 219">
            <a:extLst>
              <a:ext uri="{FF2B5EF4-FFF2-40B4-BE49-F238E27FC236}">
                <a16:creationId xmlns:a16="http://schemas.microsoft.com/office/drawing/2014/main" id="{16FCB819-0DBE-4C80-82E6-424AB76012B1}"/>
              </a:ext>
            </a:extLst>
          </p:cNvPr>
          <p:cNvSpPr txBox="1"/>
          <p:nvPr/>
        </p:nvSpPr>
        <p:spPr>
          <a:xfrm>
            <a:off x="5552932" y="5125814"/>
            <a:ext cx="1640725" cy="393940"/>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400" dirty="0">
                <a:solidFill>
                  <a:schemeClr val="bg2"/>
                </a:solidFill>
                <a:latin typeface="EYInterstate" panose="02000503020000020004" pitchFamily="2" charset="0"/>
              </a:rPr>
              <a:t>immutable </a:t>
            </a:r>
            <a:br>
              <a:rPr lang="en-US" sz="1400" dirty="0">
                <a:solidFill>
                  <a:schemeClr val="bg2"/>
                </a:solidFill>
                <a:latin typeface="EYInterstate" panose="02000503020000020004" pitchFamily="2" charset="0"/>
              </a:rPr>
            </a:br>
            <a:r>
              <a:rPr lang="en-US" sz="1400" dirty="0">
                <a:solidFill>
                  <a:schemeClr val="bg2"/>
                </a:solidFill>
                <a:latin typeface="EYInterstate" panose="02000503020000020004" pitchFamily="2" charset="0"/>
              </a:rPr>
              <a:t>database</a:t>
            </a:r>
          </a:p>
        </p:txBody>
      </p:sp>
      <p:sp>
        <p:nvSpPr>
          <p:cNvPr id="221" name="TextBox 220">
            <a:extLst>
              <a:ext uri="{FF2B5EF4-FFF2-40B4-BE49-F238E27FC236}">
                <a16:creationId xmlns:a16="http://schemas.microsoft.com/office/drawing/2014/main" id="{E3925F62-B3DC-4771-9ADC-D8A49C6F0725}"/>
              </a:ext>
            </a:extLst>
          </p:cNvPr>
          <p:cNvSpPr txBox="1"/>
          <p:nvPr/>
        </p:nvSpPr>
        <p:spPr>
          <a:xfrm>
            <a:off x="7764897" y="5034251"/>
            <a:ext cx="1640725" cy="577067"/>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400" dirty="0">
                <a:solidFill>
                  <a:schemeClr val="bg2"/>
                </a:solidFill>
                <a:latin typeface="EYInterstate" panose="02000503020000020004" pitchFamily="2" charset="0"/>
              </a:rPr>
              <a:t>transacting and recording data </a:t>
            </a:r>
            <a:br>
              <a:rPr lang="en-US" sz="1400" dirty="0">
                <a:solidFill>
                  <a:schemeClr val="bg2"/>
                </a:solidFill>
                <a:latin typeface="EYInterstate" panose="02000503020000020004" pitchFamily="2" charset="0"/>
              </a:rPr>
            </a:br>
            <a:r>
              <a:rPr lang="en-US" sz="1400" dirty="0">
                <a:solidFill>
                  <a:schemeClr val="bg2"/>
                </a:solidFill>
                <a:latin typeface="EYInterstate" panose="02000503020000020004" pitchFamily="2" charset="0"/>
              </a:rPr>
              <a:t>and value</a:t>
            </a:r>
          </a:p>
        </p:txBody>
      </p:sp>
      <p:sp>
        <p:nvSpPr>
          <p:cNvPr id="222" name="TextBox 221">
            <a:extLst>
              <a:ext uri="{FF2B5EF4-FFF2-40B4-BE49-F238E27FC236}">
                <a16:creationId xmlns:a16="http://schemas.microsoft.com/office/drawing/2014/main" id="{B4F132AA-A81A-48E5-9030-51D5AA915D53}"/>
              </a:ext>
            </a:extLst>
          </p:cNvPr>
          <p:cNvSpPr txBox="1"/>
          <p:nvPr/>
        </p:nvSpPr>
        <p:spPr>
          <a:xfrm>
            <a:off x="9976861" y="5217378"/>
            <a:ext cx="1640725" cy="210813"/>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US" sz="1400" dirty="0">
                <a:solidFill>
                  <a:schemeClr val="bg2"/>
                </a:solidFill>
                <a:latin typeface="EYInterstate" panose="02000503020000020004" pitchFamily="2" charset="0"/>
              </a:rPr>
              <a:t>securely</a:t>
            </a:r>
          </a:p>
        </p:txBody>
      </p:sp>
      <p:sp>
        <p:nvSpPr>
          <p:cNvPr id="223" name="TextBox 222">
            <a:extLst>
              <a:ext uri="{FF2B5EF4-FFF2-40B4-BE49-F238E27FC236}">
                <a16:creationId xmlns:a16="http://schemas.microsoft.com/office/drawing/2014/main" id="{7D78DB07-982E-4854-AA73-18AB3CD2A23F}"/>
              </a:ext>
            </a:extLst>
          </p:cNvPr>
          <p:cNvSpPr txBox="1"/>
          <p:nvPr/>
        </p:nvSpPr>
        <p:spPr>
          <a:xfrm>
            <a:off x="5113331" y="5230458"/>
            <a:ext cx="261290" cy="184652"/>
          </a:xfrm>
          <a:prstGeom prst="rect">
            <a:avLst/>
          </a:prstGeom>
          <a:noFill/>
        </p:spPr>
        <p:txBody>
          <a:bodyPr wrap="none" lIns="0" tIns="27418" rIns="0" bIns="0" rtlCol="0">
            <a:spAutoFit/>
          </a:bodyPr>
          <a:lstStyle/>
          <a:p>
            <a:pPr algn="ctr">
              <a:lnSpc>
                <a:spcPct val="85000"/>
              </a:lnSpc>
              <a:spcAft>
                <a:spcPts val="450"/>
              </a:spcAft>
              <a:buClr>
                <a:schemeClr val="accent2"/>
              </a:buClr>
              <a:buSzPct val="70000"/>
            </a:pPr>
            <a:r>
              <a:rPr lang="en-US" sz="1200" b="1" dirty="0">
                <a:latin typeface="EYInterstate" panose="02000503020000020004" pitchFamily="2" charset="0"/>
              </a:rPr>
              <a:t>and</a:t>
            </a:r>
          </a:p>
        </p:txBody>
      </p:sp>
      <p:sp>
        <p:nvSpPr>
          <p:cNvPr id="224" name="TextBox 223">
            <a:extLst>
              <a:ext uri="{FF2B5EF4-FFF2-40B4-BE49-F238E27FC236}">
                <a16:creationId xmlns:a16="http://schemas.microsoft.com/office/drawing/2014/main" id="{4E46714E-21D7-49F2-9E1E-CDD7FB014F6F}"/>
              </a:ext>
            </a:extLst>
          </p:cNvPr>
          <p:cNvSpPr txBox="1"/>
          <p:nvPr/>
        </p:nvSpPr>
        <p:spPr>
          <a:xfrm>
            <a:off x="7372581" y="5230458"/>
            <a:ext cx="204864" cy="184652"/>
          </a:xfrm>
          <a:prstGeom prst="rect">
            <a:avLst/>
          </a:prstGeom>
          <a:noFill/>
        </p:spPr>
        <p:txBody>
          <a:bodyPr wrap="none" lIns="0" tIns="27418" rIns="0" bIns="0" rtlCol="0">
            <a:spAutoFit/>
          </a:bodyPr>
          <a:lstStyle/>
          <a:p>
            <a:pPr algn="ctr">
              <a:lnSpc>
                <a:spcPct val="85000"/>
              </a:lnSpc>
              <a:spcAft>
                <a:spcPts val="450"/>
              </a:spcAft>
              <a:buClr>
                <a:schemeClr val="accent2"/>
              </a:buClr>
              <a:buSzPct val="70000"/>
            </a:pPr>
            <a:r>
              <a:rPr lang="en-US" sz="1200" b="1" dirty="0">
                <a:latin typeface="EYInterstate" panose="02000503020000020004" pitchFamily="2" charset="0"/>
              </a:rPr>
              <a:t>for</a:t>
            </a:r>
          </a:p>
        </p:txBody>
      </p:sp>
      <p:sp>
        <p:nvSpPr>
          <p:cNvPr id="225" name="TextBox 224">
            <a:extLst>
              <a:ext uri="{FF2B5EF4-FFF2-40B4-BE49-F238E27FC236}">
                <a16:creationId xmlns:a16="http://schemas.microsoft.com/office/drawing/2014/main" id="{8B82D9A0-A1D0-4C2E-B034-E0F8949B4DB3}"/>
              </a:ext>
            </a:extLst>
          </p:cNvPr>
          <p:cNvSpPr txBox="1"/>
          <p:nvPr/>
        </p:nvSpPr>
        <p:spPr>
          <a:xfrm>
            <a:off x="9531943" y="5230458"/>
            <a:ext cx="327462" cy="184652"/>
          </a:xfrm>
          <a:prstGeom prst="rect">
            <a:avLst/>
          </a:prstGeom>
          <a:noFill/>
        </p:spPr>
        <p:txBody>
          <a:bodyPr wrap="none" lIns="0" tIns="27418" rIns="0" bIns="0" rtlCol="0">
            <a:spAutoFit/>
          </a:bodyPr>
          <a:lstStyle/>
          <a:p>
            <a:pPr algn="ctr">
              <a:lnSpc>
                <a:spcPct val="85000"/>
              </a:lnSpc>
              <a:spcAft>
                <a:spcPts val="450"/>
              </a:spcAft>
              <a:buClr>
                <a:schemeClr val="accent2"/>
              </a:buClr>
              <a:buSzPct val="70000"/>
            </a:pPr>
            <a:r>
              <a:rPr lang="en-US" sz="1200" b="1" dirty="0">
                <a:latin typeface="EYInterstate" panose="02000503020000020004" pitchFamily="2" charset="0"/>
              </a:rPr>
              <a:t>very</a:t>
            </a:r>
          </a:p>
        </p:txBody>
      </p:sp>
      <p:sp>
        <p:nvSpPr>
          <p:cNvPr id="226" name="Rectangle 225">
            <a:extLst>
              <a:ext uri="{FF2B5EF4-FFF2-40B4-BE49-F238E27FC236}">
                <a16:creationId xmlns:a16="http://schemas.microsoft.com/office/drawing/2014/main" id="{CD0E84E7-11CB-437F-AE03-40A3D04B4878}"/>
              </a:ext>
            </a:extLst>
          </p:cNvPr>
          <p:cNvSpPr/>
          <p:nvPr/>
        </p:nvSpPr>
        <p:spPr>
          <a:xfrm>
            <a:off x="0" y="5141581"/>
            <a:ext cx="3340966" cy="362407"/>
          </a:xfrm>
          <a:prstGeom prst="rect">
            <a:avLst/>
          </a:prstGeom>
          <a:solidFill>
            <a:schemeClr val="tx2"/>
          </a:solidFill>
        </p:spPr>
        <p:txBody>
          <a:bodyPr wrap="square" lIns="91440" tIns="45720" rIns="91440" bIns="45720" anchor="t">
            <a:spAutoFit/>
          </a:bodyPr>
          <a:lstStyle/>
          <a:p>
            <a:pPr algn="r" defTabSz="913812">
              <a:lnSpc>
                <a:spcPct val="107000"/>
              </a:lnSpc>
              <a:spcBef>
                <a:spcPct val="0"/>
              </a:spcBef>
              <a:spcAft>
                <a:spcPts val="800"/>
              </a:spcAft>
            </a:pPr>
            <a:r>
              <a:rPr lang="en-IN" sz="1750" b="1" dirty="0">
                <a:latin typeface="EYInterstate" panose="02000503020000020004" pitchFamily="2" charset="0"/>
                <a:cs typeface="Times New Roman"/>
              </a:rPr>
              <a:t>So, what is blockchain?</a:t>
            </a:r>
            <a:endParaRPr lang="en-US" sz="1750" b="1" dirty="0">
              <a:latin typeface="EYInterstate" panose="02000503020000020004" pitchFamily="2" charset="0"/>
              <a:cs typeface="Times New Roman"/>
            </a:endParaRPr>
          </a:p>
        </p:txBody>
      </p:sp>
      <p:sp>
        <p:nvSpPr>
          <p:cNvPr id="2" name="Date Placeholder 1">
            <a:extLst>
              <a:ext uri="{FF2B5EF4-FFF2-40B4-BE49-F238E27FC236}">
                <a16:creationId xmlns:a16="http://schemas.microsoft.com/office/drawing/2014/main" id="{1CD64976-02EF-B673-6888-F96ADD06C1F1}"/>
              </a:ext>
            </a:extLst>
          </p:cNvPr>
          <p:cNvSpPr>
            <a:spLocks noGrp="1"/>
          </p:cNvSpPr>
          <p:nvPr>
            <p:ph type="dt" sz="half" idx="10"/>
          </p:nvPr>
        </p:nvSpPr>
        <p:spPr>
          <a:xfrm>
            <a:off x="1428928" y="6471244"/>
            <a:ext cx="1191258" cy="180000"/>
          </a:xfrm>
          <a:prstGeom prst="rect">
            <a:avLst/>
          </a:prstGeom>
        </p:spPr>
        <p:txBody>
          <a:bodyPr lIns="0" tIns="0" rIns="0" bIns="0" anchor="ctr"/>
          <a:lstStyle>
            <a:defPPr>
              <a:defRPr lang="en-US"/>
            </a:defPPr>
            <a:lvl1pPr marL="0" algn="l" defTabSz="914400" rtl="0" eaLnBrk="1" latinLnBrk="0" hangingPunct="1">
              <a:lnSpc>
                <a:spcPct val="100000"/>
              </a:lnSpc>
              <a:defRPr lang="en-US" sz="800" kern="1200" smtClean="0">
                <a:solidFill>
                  <a:schemeClr val="bg1"/>
                </a:solidFill>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C87B0F-2DC9-49E0-8291-D3220D9823A0}" type="datetime1">
              <a:rPr lang="nl-NL" smtClean="0"/>
              <a:pPr/>
              <a:t>13-3-2024</a:t>
            </a:fld>
            <a:endParaRPr lang="en-US" noProof="0" dirty="0"/>
          </a:p>
        </p:txBody>
      </p:sp>
      <p:sp>
        <p:nvSpPr>
          <p:cNvPr id="8" name="Slide Number Placeholder 7">
            <a:extLst>
              <a:ext uri="{FF2B5EF4-FFF2-40B4-BE49-F238E27FC236}">
                <a16:creationId xmlns:a16="http://schemas.microsoft.com/office/drawing/2014/main" id="{E089B64F-5477-25AC-7ED9-8595F6AB8788}"/>
              </a:ext>
            </a:extLst>
          </p:cNvPr>
          <p:cNvSpPr>
            <a:spLocks noGrp="1"/>
          </p:cNvSpPr>
          <p:nvPr>
            <p:ph type="sldNum" sz="quarter" idx="12"/>
          </p:nvPr>
        </p:nvSpPr>
        <p:spPr>
          <a:xfrm>
            <a:off x="617221" y="6471244"/>
            <a:ext cx="663066" cy="180000"/>
          </a:xfrm>
          <a:prstGeom prst="rect">
            <a:avLst/>
          </a:prstGeom>
        </p:spPr>
        <p:txBody>
          <a:bodyPr lIns="0" tIns="0" rIns="0" bIns="0" anchor="ctr"/>
          <a:lstStyle>
            <a:defPPr>
              <a:defRPr lang="en-US"/>
            </a:defPPr>
            <a:lvl1pPr marL="0" algn="l" defTabSz="914400" rtl="0" eaLnBrk="1" latinLnBrk="0" hangingPunct="1">
              <a:lnSpc>
                <a:spcPct val="100000"/>
              </a:lnSpc>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9</a:t>
            </a:fld>
            <a:endParaRPr lang="en-US" dirty="0">
              <a:latin typeface="EYInterstate Light" panose="02000506000000020004" pitchFamily="2" charset="0"/>
            </a:endParaRPr>
          </a:p>
        </p:txBody>
      </p:sp>
      <p:sp>
        <p:nvSpPr>
          <p:cNvPr id="10" name="TextBox 9">
            <a:extLst>
              <a:ext uri="{FF2B5EF4-FFF2-40B4-BE49-F238E27FC236}">
                <a16:creationId xmlns:a16="http://schemas.microsoft.com/office/drawing/2014/main" id="{B6EA673A-A2B6-898E-F3AC-262DC792B0E6}"/>
              </a:ext>
            </a:extLst>
          </p:cNvPr>
          <p:cNvSpPr txBox="1"/>
          <p:nvPr/>
        </p:nvSpPr>
        <p:spPr>
          <a:xfrm>
            <a:off x="5315396" y="2765016"/>
            <a:ext cx="1482796" cy="1384995"/>
          </a:xfrm>
          <a:prstGeom prst="rect">
            <a:avLst/>
          </a:prstGeom>
          <a:noFill/>
        </p:spPr>
        <p:txBody>
          <a:bodyPr wrap="square">
            <a:spAutoFit/>
          </a:bodyPr>
          <a:lstStyle/>
          <a:p>
            <a:r>
              <a:rPr lang="en-US" sz="1050" dirty="0">
                <a:solidFill>
                  <a:schemeClr val="bg1"/>
                </a:solidFill>
              </a:rPr>
              <a:t>Hash functions convert a piece of data into a fixed size string of characters. This string is unique to the piece of data that was used.</a:t>
            </a:r>
            <a:r>
              <a:rPr lang="en-US" sz="1050" dirty="0"/>
              <a:t>as input</a:t>
            </a:r>
            <a:endParaRPr lang="nl-NL" sz="1050" dirty="0"/>
          </a:p>
        </p:txBody>
      </p:sp>
      <p:pic>
        <p:nvPicPr>
          <p:cNvPr id="4" name="Picture 2" descr="NOREA | NOREA">
            <a:extLst>
              <a:ext uri="{FF2B5EF4-FFF2-40B4-BE49-F238E27FC236}">
                <a16:creationId xmlns:a16="http://schemas.microsoft.com/office/drawing/2014/main" id="{D2797F46-DB99-55E6-BA87-CD04D1F7F27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98995" y="6309197"/>
            <a:ext cx="1273547" cy="383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1311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Takeaway yellow"/>
  <p:tag name="SYMBOL" val="White_Takeaway yellow"/>
</p:tagLst>
</file>

<file path=ppt/tags/tag11.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Text box"/>
  <p:tag name="SYMBOL" val="White_Text box"/>
</p:tagLst>
</file>

<file path=ppt/tags/tag12.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Text box"/>
  <p:tag name="SYMBOL" val="White_Text box"/>
</p:tagLst>
</file>

<file path=ppt/tags/tag13.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Text box"/>
  <p:tag name="SYMBOL" val="White_Text box"/>
</p:tagLst>
</file>

<file path=ppt/tags/tag14.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Bulleted list"/>
  <p:tag name="SYMBOL" val="White_Bulleted list"/>
</p:tagLst>
</file>

<file path=ppt/tags/tag15.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Bulleted list"/>
  <p:tag name="SYMBOL" val="White_Bulleted list"/>
</p:tagLst>
</file>

<file path=ppt/tags/tag16.xml><?xml version="1.0" encoding="utf-8"?>
<p:tagLst xmlns:a="http://schemas.openxmlformats.org/drawingml/2006/main" xmlns:r="http://schemas.openxmlformats.org/officeDocument/2006/relationships" xmlns:p="http://schemas.openxmlformats.org/presentationml/2006/main">
  <p:tag name="SYMBOLCOLOR" val="single"/>
  <p:tag name="FIXEDPOSITION" val="F"/>
  <p:tag name="DYNAMICSHAPE" val="White_Bulleted list"/>
  <p:tag name="SYMBOL" val="White_Bulleted lis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Jf2XtvdBD2wtNFc9B_8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Jf2XtvdBD2wtNFc9B_8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Presentation Widescreen.potx" id="{D690A864-DA9B-4D81-8F9A-A8E864E3B206}" vid="{45FA9C5B-DB88-45FB-9A7C-AC4E6D34DFB0}"/>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Presentation Widescreen.potx" id="{D690A864-DA9B-4D81-8F9A-A8E864E3B206}" vid="{D5AB919E-EE78-42C9-AFF3-712C5A59483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55B42CBFA2A7A4D86B9C23F9C1D22DE" ma:contentTypeVersion="17" ma:contentTypeDescription="Create a new document." ma:contentTypeScope="" ma:versionID="6f8c0d8747ab364c25732aca78e3588c">
  <xsd:schema xmlns:xsd="http://www.w3.org/2001/XMLSchema" xmlns:xs="http://www.w3.org/2001/XMLSchema" xmlns:p="http://schemas.microsoft.com/office/2006/metadata/properties" xmlns:ns3="cb02f64c-379e-4638-8052-ab5cd1336674" xmlns:ns4="1a5f9066-9774-48b5-8834-3251528f5378" targetNamespace="http://schemas.microsoft.com/office/2006/metadata/properties" ma:root="true" ma:fieldsID="745a3f96c42d3746deedb82daff59cca" ns3:_="" ns4:_="">
    <xsd:import namespace="cb02f64c-379e-4638-8052-ab5cd1336674"/>
    <xsd:import namespace="1a5f9066-9774-48b5-8834-3251528f537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MediaLengthInSeconds" minOccurs="0"/>
                <xsd:element ref="ns3:_activity"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02f64c-379e-4638-8052-ab5cd13366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a5f9066-9774-48b5-8834-3251528f537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cb02f64c-379e-4638-8052-ab5cd1336674" xsi:nil="true"/>
  </documentManagement>
</p:properties>
</file>

<file path=customXml/itemProps1.xml><?xml version="1.0" encoding="utf-8"?>
<ds:datastoreItem xmlns:ds="http://schemas.openxmlformats.org/officeDocument/2006/customXml" ds:itemID="{E5348731-F039-45CC-92DD-06D7C2290006}">
  <ds:schemaRefs>
    <ds:schemaRef ds:uri="http://schemas.microsoft.com/sharepoint/v3/contenttype/forms"/>
  </ds:schemaRefs>
</ds:datastoreItem>
</file>

<file path=customXml/itemProps2.xml><?xml version="1.0" encoding="utf-8"?>
<ds:datastoreItem xmlns:ds="http://schemas.openxmlformats.org/officeDocument/2006/customXml" ds:itemID="{3B088495-F954-4091-B025-DA764347BE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02f64c-379e-4638-8052-ab5cd1336674"/>
    <ds:schemaRef ds:uri="1a5f9066-9774-48b5-8834-3251528f53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49FDEB-1485-4106-980A-159FD212B785}">
  <ds:schemaRefs>
    <ds:schemaRef ds:uri="http://purl.org/dc/elements/1.1/"/>
    <ds:schemaRef ds:uri="http://schemas.microsoft.com/office/2006/metadata/properties"/>
    <ds:schemaRef ds:uri="1a5f9066-9774-48b5-8834-3251528f5378"/>
    <ds:schemaRef ds:uri="http://purl.org/dc/terms/"/>
    <ds:schemaRef ds:uri="cb02f64c-379e-4638-8052-ab5cd1336674"/>
    <ds:schemaRef ds:uri="http://schemas.microsoft.com/office/2006/documentManagement/type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 Presentation Widescreen</Template>
  <TotalTime>5442</TotalTime>
  <Words>1548</Words>
  <Application>Microsoft Office PowerPoint</Application>
  <PresentationFormat>Custom</PresentationFormat>
  <Paragraphs>303</Paragraphs>
  <Slides>24</Slides>
  <Notes>13</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41" baseType="lpstr">
      <vt:lpstr>Arial</vt:lpstr>
      <vt:lpstr>ArialMT</vt:lpstr>
      <vt:lpstr>Calibri</vt:lpstr>
      <vt:lpstr>EYInterstate</vt:lpstr>
      <vt:lpstr>EYInterstate Light</vt:lpstr>
      <vt:lpstr>EYInterstate-Bold</vt:lpstr>
      <vt:lpstr>EYInterstate-Light</vt:lpstr>
      <vt:lpstr>EYInterstate-LightBold</vt:lpstr>
      <vt:lpstr>Georgia</vt:lpstr>
      <vt:lpstr>Lucida Bright</vt:lpstr>
      <vt:lpstr>Lucida Sans</vt:lpstr>
      <vt:lpstr>Lucida Sans Unicode</vt:lpstr>
      <vt:lpstr>Trebuchet MS</vt:lpstr>
      <vt:lpstr>Wingdings 3</vt:lpstr>
      <vt:lpstr>EY dark background</vt:lpstr>
      <vt:lpstr>EY light background</vt:lpstr>
      <vt:lpstr>think-cell Slide</vt:lpstr>
      <vt:lpstr>Webinar Smart Contract Risk</vt:lpstr>
      <vt:lpstr>Contents</vt:lpstr>
      <vt:lpstr>Introduction</vt:lpstr>
      <vt:lpstr>PowerPoint Presentation</vt:lpstr>
      <vt:lpstr>PowerPoint Presentation</vt:lpstr>
      <vt:lpstr>So who is right?</vt:lpstr>
      <vt:lpstr>Blockchain explained</vt:lpstr>
      <vt:lpstr>Blockchain is a decentralized digital ledger for recording and verifying transactions securely between participants </vt:lpstr>
      <vt:lpstr>PowerPoint Presentation</vt:lpstr>
      <vt:lpstr>How does a blockchain transaction work?</vt:lpstr>
      <vt:lpstr>PowerPoint Presentation</vt:lpstr>
      <vt:lpstr>Smart Contracts explained</vt:lpstr>
      <vt:lpstr>What are smart contracts and how do they work?</vt:lpstr>
      <vt:lpstr>Foundations of smart contracts</vt:lpstr>
      <vt:lpstr>Example of a smart contract</vt:lpstr>
      <vt:lpstr>Change management</vt:lpstr>
      <vt:lpstr>Smart Contract Risks</vt:lpstr>
      <vt:lpstr>Fundamental risks</vt:lpstr>
      <vt:lpstr>Risks materialized </vt:lpstr>
      <vt:lpstr>Risk mitigation best practices</vt:lpstr>
      <vt:lpstr>Testing, auditing &amp; secure development</vt:lpstr>
      <vt:lpstr>Smart Contract &amp; Token Review</vt:lpstr>
      <vt:lpstr>Q &amp; A</vt:lpstr>
      <vt:lpstr>Bedan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ckchain and Smart Contracts</dc:title>
  <dc:creator>Kees Schonebaum</dc:creator>
  <cp:keywords/>
  <cp:lastModifiedBy>Kees Schonebaum</cp:lastModifiedBy>
  <cp:revision>22</cp:revision>
  <dcterms:created xsi:type="dcterms:W3CDTF">2022-04-14T07:10:41Z</dcterms:created>
  <dcterms:modified xsi:type="dcterms:W3CDTF">2024-03-13T07:47:5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EYPresentationWideScreen</vt:lpwstr>
  </property>
  <property fmtid="{D5CDD505-2E9C-101B-9397-08002B2CF9AE}" pid="3" name="ContentTypeId">
    <vt:lpwstr>0x010100655B42CBFA2A7A4D86B9C23F9C1D22DE</vt:lpwstr>
  </property>
</Properties>
</file>